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10"/>
  </p:notesMasterIdLst>
  <p:handoutMasterIdLst>
    <p:handoutMasterId r:id="rId11"/>
  </p:handoutMasterIdLst>
  <p:sldIdLst>
    <p:sldId id="369" r:id="rId5"/>
    <p:sldId id="372" r:id="rId6"/>
    <p:sldId id="373" r:id="rId7"/>
    <p:sldId id="374" r:id="rId8"/>
    <p:sldId id="375" r:id="rId9"/>
  </p:sldIdLst>
  <p:sldSz cx="9906000" cy="6858000" type="A4"/>
  <p:notesSz cx="6797675" cy="9928225"/>
  <p:custDataLst>
    <p:tags r:id="rId1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312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D60093"/>
    <a:srgbClr val="FF0066"/>
    <a:srgbClr val="AF1C63"/>
    <a:srgbClr val="A2BFAF"/>
    <a:srgbClr val="ACB7B2"/>
    <a:srgbClr val="6A9529"/>
    <a:srgbClr val="00A0D6"/>
    <a:srgbClr val="008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1" autoAdjust="0"/>
    <p:restoredTop sz="94625" autoAdjust="0"/>
  </p:normalViewPr>
  <p:slideViewPr>
    <p:cSldViewPr>
      <p:cViewPr varScale="1">
        <p:scale>
          <a:sx n="75" d="100"/>
          <a:sy n="75" d="100"/>
        </p:scale>
        <p:origin x="690" y="48"/>
      </p:cViewPr>
      <p:guideLst>
        <p:guide orient="horz"/>
        <p:guide pos="3120"/>
      </p:guideLst>
    </p:cSldViewPr>
  </p:slideViewPr>
  <p:notesTextViewPr>
    <p:cViewPr>
      <p:scale>
        <a:sx n="100" d="100"/>
        <a:sy n="100" d="100"/>
      </p:scale>
      <p:origin x="0" y="0"/>
    </p:cViewPr>
  </p:notesTextViewPr>
  <p:sorterViewPr>
    <p:cViewPr>
      <p:scale>
        <a:sx n="200" d="100"/>
        <a:sy n="200" d="100"/>
      </p:scale>
      <p:origin x="0" y="0"/>
    </p:cViewPr>
  </p:sorterViewPr>
  <p:notesViewPr>
    <p:cSldViewPr snapToGrid="0">
      <p:cViewPr varScale="1">
        <p:scale>
          <a:sx n="82" d="100"/>
          <a:sy n="82" d="100"/>
        </p:scale>
        <p:origin x="-3954"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872"/>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30813"/>
            <a:ext cx="2945862" cy="495872"/>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4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430813"/>
            <a:ext cx="2945862" cy="495872"/>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7523924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2"/>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4" y="0"/>
            <a:ext cx="2945659" cy="496412"/>
          </a:xfrm>
          <a:prstGeom prst="rect">
            <a:avLst/>
          </a:prstGeom>
        </p:spPr>
        <p:txBody>
          <a:bodyPr vert="horz" lIns="95264" tIns="47632" rIns="95264" bIns="47632" rtlCol="0"/>
          <a:lstStyle>
            <a:lvl1pPr algn="r">
              <a:defRPr sz="1300"/>
            </a:lvl1pPr>
          </a:lstStyle>
          <a:p>
            <a:fld id="{2FB4FF29-EE9A-4D47-9F1A-289A80693C0F}" type="datetimeFigureOut">
              <a:rPr lang="en-US" smtClean="0"/>
              <a:pPr/>
              <a:t>10/8/2018</a:t>
            </a:fld>
            <a:endParaRPr lang="en-US"/>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30091"/>
            <a:ext cx="2945659" cy="496412"/>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4" y="9430091"/>
            <a:ext cx="2945659" cy="496412"/>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545939838"/>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val="2453733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val="421184485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0" name="Picture 39"/>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t="19237" b="7367"/>
          <a:stretch/>
        </p:blipFill>
        <p:spPr>
          <a:xfrm>
            <a:off x="1299" y="1772816"/>
            <a:ext cx="9907589" cy="4407852"/>
          </a:xfrm>
          <a:prstGeom prst="rect">
            <a:avLst/>
          </a:prstGeom>
        </p:spPr>
      </p:pic>
      <p:sp>
        <p:nvSpPr>
          <p:cNvPr id="3" name="Rectangle 2"/>
          <p:cNvSpPr/>
          <p:nvPr userDrawn="1"/>
        </p:nvSpPr>
        <p:spPr>
          <a:xfrm>
            <a:off x="-1588" y="6114673"/>
            <a:ext cx="3154388" cy="743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sp>
        <p:nvSpPr>
          <p:cNvPr id="7" name="Rectangle 6"/>
          <p:cNvSpPr/>
          <p:nvPr userDrawn="1"/>
        </p:nvSpPr>
        <p:spPr>
          <a:xfrm>
            <a:off x="6967636" y="6114673"/>
            <a:ext cx="2938364" cy="743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sp>
        <p:nvSpPr>
          <p:cNvPr id="8" name="Rectangle 7"/>
          <p:cNvSpPr/>
          <p:nvPr userDrawn="1"/>
        </p:nvSpPr>
        <p:spPr>
          <a:xfrm>
            <a:off x="2931818" y="6114673"/>
            <a:ext cx="4109413" cy="35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smtClean="0">
              <a:solidFill>
                <a:schemeClr val="tx2">
                  <a:lumMod val="50000"/>
                </a:schemeClr>
              </a:solidFill>
            </a:endParaRPr>
          </a:p>
        </p:txBody>
      </p:sp>
      <p:pic>
        <p:nvPicPr>
          <p:cNvPr id="42" name="Picture 4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43229" y="6453337"/>
            <a:ext cx="2611934" cy="216024"/>
          </a:xfrm>
          <a:prstGeom prst="rect">
            <a:avLst/>
          </a:prstGeom>
        </p:spPr>
      </p:pic>
      <p:grpSp>
        <p:nvGrpSpPr>
          <p:cNvPr id="81" name="Group 22"/>
          <p:cNvGrpSpPr>
            <a:grpSpLocks noChangeAspect="1"/>
          </p:cNvGrpSpPr>
          <p:nvPr userDrawn="1"/>
        </p:nvGrpSpPr>
        <p:grpSpPr bwMode="auto">
          <a:xfrm>
            <a:off x="8121352" y="476672"/>
            <a:ext cx="1304026" cy="786734"/>
            <a:chOff x="4430" y="293"/>
            <a:chExt cx="905" cy="546"/>
          </a:xfrm>
        </p:grpSpPr>
        <p:sp>
          <p:nvSpPr>
            <p:cNvPr id="82" name="AutoShape 21"/>
            <p:cNvSpPr>
              <a:spLocks noChangeAspect="1" noChangeArrowheads="1" noTextEdit="1"/>
            </p:cNvSpPr>
            <p:nvPr userDrawn="1"/>
          </p:nvSpPr>
          <p:spPr bwMode="auto">
            <a:xfrm>
              <a:off x="4430" y="293"/>
              <a:ext cx="904" cy="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3"/>
            <p:cNvSpPr>
              <a:spLocks/>
            </p:cNvSpPr>
            <p:nvPr userDrawn="1"/>
          </p:nvSpPr>
          <p:spPr bwMode="auto">
            <a:xfrm>
              <a:off x="4498" y="578"/>
              <a:ext cx="86" cy="108"/>
            </a:xfrm>
            <a:custGeom>
              <a:avLst/>
              <a:gdLst>
                <a:gd name="T0" fmla="*/ 0 w 86"/>
                <a:gd name="T1" fmla="*/ 108 h 108"/>
                <a:gd name="T2" fmla="*/ 15 w 86"/>
                <a:gd name="T3" fmla="*/ 108 h 108"/>
                <a:gd name="T4" fmla="*/ 15 w 86"/>
                <a:gd name="T5" fmla="*/ 58 h 108"/>
                <a:gd name="T6" fmla="*/ 72 w 86"/>
                <a:gd name="T7" fmla="*/ 58 h 108"/>
                <a:gd name="T8" fmla="*/ 72 w 86"/>
                <a:gd name="T9" fmla="*/ 108 h 108"/>
                <a:gd name="T10" fmla="*/ 86 w 86"/>
                <a:gd name="T11" fmla="*/ 108 h 108"/>
                <a:gd name="T12" fmla="*/ 86 w 86"/>
                <a:gd name="T13" fmla="*/ 0 h 108"/>
                <a:gd name="T14" fmla="*/ 72 w 86"/>
                <a:gd name="T15" fmla="*/ 0 h 108"/>
                <a:gd name="T16" fmla="*/ 72 w 86"/>
                <a:gd name="T17" fmla="*/ 46 h 108"/>
                <a:gd name="T18" fmla="*/ 15 w 86"/>
                <a:gd name="T19" fmla="*/ 46 h 108"/>
                <a:gd name="T20" fmla="*/ 15 w 86"/>
                <a:gd name="T21" fmla="*/ 0 h 108"/>
                <a:gd name="T22" fmla="*/ 0 w 86"/>
                <a:gd name="T23" fmla="*/ 0 h 108"/>
                <a:gd name="T24" fmla="*/ 0 w 8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08">
                  <a:moveTo>
                    <a:pt x="0" y="108"/>
                  </a:moveTo>
                  <a:lnTo>
                    <a:pt x="15" y="108"/>
                  </a:lnTo>
                  <a:lnTo>
                    <a:pt x="15" y="58"/>
                  </a:lnTo>
                  <a:lnTo>
                    <a:pt x="72" y="58"/>
                  </a:lnTo>
                  <a:lnTo>
                    <a:pt x="72" y="108"/>
                  </a:lnTo>
                  <a:lnTo>
                    <a:pt x="86" y="108"/>
                  </a:lnTo>
                  <a:lnTo>
                    <a:pt x="86" y="0"/>
                  </a:lnTo>
                  <a:lnTo>
                    <a:pt x="72" y="0"/>
                  </a:lnTo>
                  <a:lnTo>
                    <a:pt x="72" y="46"/>
                  </a:lnTo>
                  <a:lnTo>
                    <a:pt x="15" y="46"/>
                  </a:lnTo>
                  <a:lnTo>
                    <a:pt x="15" y="0"/>
                  </a:lnTo>
                  <a:lnTo>
                    <a:pt x="0" y="0"/>
                  </a:lnTo>
                  <a:lnTo>
                    <a:pt x="0" y="108"/>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4"/>
            <p:cNvSpPr>
              <a:spLocks/>
            </p:cNvSpPr>
            <p:nvPr userDrawn="1"/>
          </p:nvSpPr>
          <p:spPr bwMode="auto">
            <a:xfrm>
              <a:off x="4607" y="578"/>
              <a:ext cx="106" cy="108"/>
            </a:xfrm>
            <a:custGeom>
              <a:avLst/>
              <a:gdLst>
                <a:gd name="T0" fmla="*/ 0 w 106"/>
                <a:gd name="T1" fmla="*/ 108 h 108"/>
                <a:gd name="T2" fmla="*/ 13 w 106"/>
                <a:gd name="T3" fmla="*/ 108 h 108"/>
                <a:gd name="T4" fmla="*/ 13 w 106"/>
                <a:gd name="T5" fmla="*/ 18 h 108"/>
                <a:gd name="T6" fmla="*/ 13 w 106"/>
                <a:gd name="T7" fmla="*/ 18 h 108"/>
                <a:gd name="T8" fmla="*/ 47 w 106"/>
                <a:gd name="T9" fmla="*/ 108 h 108"/>
                <a:gd name="T10" fmla="*/ 59 w 106"/>
                <a:gd name="T11" fmla="*/ 108 h 108"/>
                <a:gd name="T12" fmla="*/ 93 w 106"/>
                <a:gd name="T13" fmla="*/ 18 h 108"/>
                <a:gd name="T14" fmla="*/ 93 w 106"/>
                <a:gd name="T15" fmla="*/ 18 h 108"/>
                <a:gd name="T16" fmla="*/ 93 w 106"/>
                <a:gd name="T17" fmla="*/ 108 h 108"/>
                <a:gd name="T18" fmla="*/ 106 w 106"/>
                <a:gd name="T19" fmla="*/ 108 h 108"/>
                <a:gd name="T20" fmla="*/ 106 w 106"/>
                <a:gd name="T21" fmla="*/ 0 h 108"/>
                <a:gd name="T22" fmla="*/ 87 w 106"/>
                <a:gd name="T23" fmla="*/ 0 h 108"/>
                <a:gd name="T24" fmla="*/ 53 w 106"/>
                <a:gd name="T25" fmla="*/ 90 h 108"/>
                <a:gd name="T26" fmla="*/ 19 w 106"/>
                <a:gd name="T27" fmla="*/ 0 h 108"/>
                <a:gd name="T28" fmla="*/ 0 w 106"/>
                <a:gd name="T29" fmla="*/ 0 h 108"/>
                <a:gd name="T30" fmla="*/ 0 w 106"/>
                <a:gd name="T3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8">
                  <a:moveTo>
                    <a:pt x="0" y="108"/>
                  </a:moveTo>
                  <a:lnTo>
                    <a:pt x="13" y="108"/>
                  </a:lnTo>
                  <a:lnTo>
                    <a:pt x="13" y="18"/>
                  </a:lnTo>
                  <a:lnTo>
                    <a:pt x="13" y="18"/>
                  </a:lnTo>
                  <a:lnTo>
                    <a:pt x="47" y="108"/>
                  </a:lnTo>
                  <a:lnTo>
                    <a:pt x="59" y="108"/>
                  </a:lnTo>
                  <a:lnTo>
                    <a:pt x="93" y="18"/>
                  </a:lnTo>
                  <a:lnTo>
                    <a:pt x="93" y="18"/>
                  </a:lnTo>
                  <a:lnTo>
                    <a:pt x="93" y="108"/>
                  </a:lnTo>
                  <a:lnTo>
                    <a:pt x="106" y="108"/>
                  </a:lnTo>
                  <a:lnTo>
                    <a:pt x="106" y="0"/>
                  </a:lnTo>
                  <a:lnTo>
                    <a:pt x="87" y="0"/>
                  </a:lnTo>
                  <a:lnTo>
                    <a:pt x="53" y="90"/>
                  </a:lnTo>
                  <a:lnTo>
                    <a:pt x="19" y="0"/>
                  </a:lnTo>
                  <a:lnTo>
                    <a:pt x="0" y="0"/>
                  </a:lnTo>
                  <a:lnTo>
                    <a:pt x="0" y="108"/>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25"/>
            <p:cNvSpPr>
              <a:spLocks noEditPoints="1"/>
            </p:cNvSpPr>
            <p:nvPr userDrawn="1"/>
          </p:nvSpPr>
          <p:spPr bwMode="auto">
            <a:xfrm>
              <a:off x="4766" y="578"/>
              <a:ext cx="87" cy="108"/>
            </a:xfrm>
            <a:custGeom>
              <a:avLst/>
              <a:gdLst>
                <a:gd name="T0" fmla="*/ 0 w 364"/>
                <a:gd name="T1" fmla="*/ 448 h 448"/>
                <a:gd name="T2" fmla="*/ 60 w 364"/>
                <a:gd name="T3" fmla="*/ 448 h 448"/>
                <a:gd name="T4" fmla="*/ 60 w 364"/>
                <a:gd name="T5" fmla="*/ 255 h 448"/>
                <a:gd name="T6" fmla="*/ 206 w 364"/>
                <a:gd name="T7" fmla="*/ 255 h 448"/>
                <a:gd name="T8" fmla="*/ 281 w 364"/>
                <a:gd name="T9" fmla="*/ 337 h 448"/>
                <a:gd name="T10" fmla="*/ 297 w 364"/>
                <a:gd name="T11" fmla="*/ 448 h 448"/>
                <a:gd name="T12" fmla="*/ 364 w 364"/>
                <a:gd name="T13" fmla="*/ 448 h 448"/>
                <a:gd name="T14" fmla="*/ 337 w 364"/>
                <a:gd name="T15" fmla="*/ 323 h 448"/>
                <a:gd name="T16" fmla="*/ 270 w 364"/>
                <a:gd name="T17" fmla="*/ 231 h 448"/>
                <a:gd name="T18" fmla="*/ 270 w 364"/>
                <a:gd name="T19" fmla="*/ 229 h 448"/>
                <a:gd name="T20" fmla="*/ 348 w 364"/>
                <a:gd name="T21" fmla="*/ 117 h 448"/>
                <a:gd name="T22" fmla="*/ 212 w 364"/>
                <a:gd name="T23" fmla="*/ 0 h 448"/>
                <a:gd name="T24" fmla="*/ 0 w 364"/>
                <a:gd name="T25" fmla="*/ 0 h 448"/>
                <a:gd name="T26" fmla="*/ 0 w 364"/>
                <a:gd name="T27" fmla="*/ 448 h 448"/>
                <a:gd name="T28" fmla="*/ 60 w 364"/>
                <a:gd name="T29" fmla="*/ 205 h 448"/>
                <a:gd name="T30" fmla="*/ 60 w 364"/>
                <a:gd name="T31" fmla="*/ 50 h 448"/>
                <a:gd name="T32" fmla="*/ 208 w 364"/>
                <a:gd name="T33" fmla="*/ 50 h 448"/>
                <a:gd name="T34" fmla="*/ 288 w 364"/>
                <a:gd name="T35" fmla="*/ 126 h 448"/>
                <a:gd name="T36" fmla="*/ 184 w 364"/>
                <a:gd name="T37" fmla="*/ 205 h 448"/>
                <a:gd name="T38" fmla="*/ 60 w 364"/>
                <a:gd name="T39" fmla="*/ 20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4" h="448">
                  <a:moveTo>
                    <a:pt x="0" y="448"/>
                  </a:moveTo>
                  <a:cubicBezTo>
                    <a:pt x="60" y="448"/>
                    <a:pt x="60" y="448"/>
                    <a:pt x="60" y="448"/>
                  </a:cubicBezTo>
                  <a:cubicBezTo>
                    <a:pt x="60" y="255"/>
                    <a:pt x="60" y="255"/>
                    <a:pt x="60" y="255"/>
                  </a:cubicBezTo>
                  <a:cubicBezTo>
                    <a:pt x="206" y="255"/>
                    <a:pt x="206" y="255"/>
                    <a:pt x="206" y="255"/>
                  </a:cubicBezTo>
                  <a:cubicBezTo>
                    <a:pt x="264" y="255"/>
                    <a:pt x="274" y="293"/>
                    <a:pt x="281" y="337"/>
                  </a:cubicBezTo>
                  <a:cubicBezTo>
                    <a:pt x="290" y="381"/>
                    <a:pt x="280" y="429"/>
                    <a:pt x="297" y="448"/>
                  </a:cubicBezTo>
                  <a:cubicBezTo>
                    <a:pt x="364" y="448"/>
                    <a:pt x="364" y="448"/>
                    <a:pt x="364" y="448"/>
                  </a:cubicBezTo>
                  <a:cubicBezTo>
                    <a:pt x="338" y="417"/>
                    <a:pt x="341" y="368"/>
                    <a:pt x="337" y="323"/>
                  </a:cubicBezTo>
                  <a:cubicBezTo>
                    <a:pt x="333" y="279"/>
                    <a:pt x="322" y="241"/>
                    <a:pt x="270" y="231"/>
                  </a:cubicBezTo>
                  <a:cubicBezTo>
                    <a:pt x="270" y="229"/>
                    <a:pt x="270" y="229"/>
                    <a:pt x="270" y="229"/>
                  </a:cubicBezTo>
                  <a:cubicBezTo>
                    <a:pt x="324" y="214"/>
                    <a:pt x="348" y="170"/>
                    <a:pt x="348" y="117"/>
                  </a:cubicBezTo>
                  <a:cubicBezTo>
                    <a:pt x="348" y="46"/>
                    <a:pt x="296" y="0"/>
                    <a:pt x="212" y="0"/>
                  </a:cubicBezTo>
                  <a:cubicBezTo>
                    <a:pt x="0" y="0"/>
                    <a:pt x="0" y="0"/>
                    <a:pt x="0" y="0"/>
                  </a:cubicBezTo>
                  <a:lnTo>
                    <a:pt x="0" y="448"/>
                  </a:lnTo>
                  <a:close/>
                  <a:moveTo>
                    <a:pt x="60" y="205"/>
                  </a:moveTo>
                  <a:cubicBezTo>
                    <a:pt x="60" y="50"/>
                    <a:pt x="60" y="50"/>
                    <a:pt x="60" y="50"/>
                  </a:cubicBezTo>
                  <a:cubicBezTo>
                    <a:pt x="208" y="50"/>
                    <a:pt x="208" y="50"/>
                    <a:pt x="208" y="50"/>
                  </a:cubicBezTo>
                  <a:cubicBezTo>
                    <a:pt x="264" y="50"/>
                    <a:pt x="288" y="83"/>
                    <a:pt x="288" y="126"/>
                  </a:cubicBezTo>
                  <a:cubicBezTo>
                    <a:pt x="288" y="190"/>
                    <a:pt x="240" y="205"/>
                    <a:pt x="184" y="205"/>
                  </a:cubicBezTo>
                  <a:lnTo>
                    <a:pt x="60" y="20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6"/>
            <p:cNvSpPr>
              <a:spLocks noEditPoints="1"/>
            </p:cNvSpPr>
            <p:nvPr userDrawn="1"/>
          </p:nvSpPr>
          <p:spPr bwMode="auto">
            <a:xfrm>
              <a:off x="4861" y="606"/>
              <a:ext cx="72" cy="82"/>
            </a:xfrm>
            <a:custGeom>
              <a:avLst/>
              <a:gdLst>
                <a:gd name="T0" fmla="*/ 56 w 299"/>
                <a:gd name="T1" fmla="*/ 140 h 340"/>
                <a:gd name="T2" fmla="*/ 147 w 299"/>
                <a:gd name="T3" fmla="*/ 47 h 340"/>
                <a:gd name="T4" fmla="*/ 240 w 299"/>
                <a:gd name="T5" fmla="*/ 140 h 340"/>
                <a:gd name="T6" fmla="*/ 56 w 299"/>
                <a:gd name="T7" fmla="*/ 140 h 340"/>
                <a:gd name="T8" fmla="*/ 239 w 299"/>
                <a:gd name="T9" fmla="*/ 230 h 340"/>
                <a:gd name="T10" fmla="*/ 156 w 299"/>
                <a:gd name="T11" fmla="*/ 293 h 340"/>
                <a:gd name="T12" fmla="*/ 56 w 299"/>
                <a:gd name="T13" fmla="*/ 188 h 340"/>
                <a:gd name="T14" fmla="*/ 296 w 299"/>
                <a:gd name="T15" fmla="*/ 188 h 340"/>
                <a:gd name="T16" fmla="*/ 151 w 299"/>
                <a:gd name="T17" fmla="*/ 0 h 340"/>
                <a:gd name="T18" fmla="*/ 0 w 299"/>
                <a:gd name="T19" fmla="*/ 171 h 340"/>
                <a:gd name="T20" fmla="*/ 154 w 299"/>
                <a:gd name="T21" fmla="*/ 340 h 340"/>
                <a:gd name="T22" fmla="*/ 291 w 299"/>
                <a:gd name="T23" fmla="*/ 230 h 340"/>
                <a:gd name="T24" fmla="*/ 239 w 299"/>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40">
                  <a:moveTo>
                    <a:pt x="56" y="140"/>
                  </a:moveTo>
                  <a:cubicBezTo>
                    <a:pt x="59" y="90"/>
                    <a:pt x="92" y="47"/>
                    <a:pt x="147" y="47"/>
                  </a:cubicBezTo>
                  <a:cubicBezTo>
                    <a:pt x="200" y="47"/>
                    <a:pt x="238" y="89"/>
                    <a:pt x="240" y="140"/>
                  </a:cubicBezTo>
                  <a:lnTo>
                    <a:pt x="56" y="140"/>
                  </a:lnTo>
                  <a:close/>
                  <a:moveTo>
                    <a:pt x="239" y="230"/>
                  </a:moveTo>
                  <a:cubicBezTo>
                    <a:pt x="229" y="272"/>
                    <a:pt x="199" y="293"/>
                    <a:pt x="156" y="293"/>
                  </a:cubicBezTo>
                  <a:cubicBezTo>
                    <a:pt x="85" y="293"/>
                    <a:pt x="54" y="243"/>
                    <a:pt x="56" y="188"/>
                  </a:cubicBezTo>
                  <a:cubicBezTo>
                    <a:pt x="296" y="188"/>
                    <a:pt x="296" y="188"/>
                    <a:pt x="296" y="188"/>
                  </a:cubicBezTo>
                  <a:cubicBezTo>
                    <a:pt x="299" y="108"/>
                    <a:pt x="264" y="0"/>
                    <a:pt x="151" y="0"/>
                  </a:cubicBezTo>
                  <a:cubicBezTo>
                    <a:pt x="63" y="0"/>
                    <a:pt x="0" y="72"/>
                    <a:pt x="0" y="171"/>
                  </a:cubicBezTo>
                  <a:cubicBezTo>
                    <a:pt x="3" y="269"/>
                    <a:pt x="51" y="340"/>
                    <a:pt x="154" y="340"/>
                  </a:cubicBezTo>
                  <a:cubicBezTo>
                    <a:pt x="226" y="340"/>
                    <a:pt x="276" y="301"/>
                    <a:pt x="291" y="230"/>
                  </a:cubicBezTo>
                  <a:lnTo>
                    <a:pt x="239"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7"/>
            <p:cNvSpPr>
              <a:spLocks/>
            </p:cNvSpPr>
            <p:nvPr userDrawn="1"/>
          </p:nvSpPr>
          <p:spPr bwMode="auto">
            <a:xfrm>
              <a:off x="4939" y="608"/>
              <a:ext cx="71" cy="78"/>
            </a:xfrm>
            <a:custGeom>
              <a:avLst/>
              <a:gdLst>
                <a:gd name="T0" fmla="*/ 71 w 71"/>
                <a:gd name="T1" fmla="*/ 0 h 78"/>
                <a:gd name="T2" fmla="*/ 58 w 71"/>
                <a:gd name="T3" fmla="*/ 0 h 78"/>
                <a:gd name="T4" fmla="*/ 36 w 71"/>
                <a:gd name="T5" fmla="*/ 65 h 78"/>
                <a:gd name="T6" fmla="*/ 36 w 71"/>
                <a:gd name="T7" fmla="*/ 65 h 78"/>
                <a:gd name="T8" fmla="*/ 14 w 71"/>
                <a:gd name="T9" fmla="*/ 0 h 78"/>
                <a:gd name="T10" fmla="*/ 0 w 71"/>
                <a:gd name="T11" fmla="*/ 0 h 78"/>
                <a:gd name="T12" fmla="*/ 29 w 71"/>
                <a:gd name="T13" fmla="*/ 78 h 78"/>
                <a:gd name="T14" fmla="*/ 42 w 71"/>
                <a:gd name="T15" fmla="*/ 78 h 78"/>
                <a:gd name="T16" fmla="*/ 71 w 71"/>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71" y="0"/>
                  </a:moveTo>
                  <a:lnTo>
                    <a:pt x="58" y="0"/>
                  </a:lnTo>
                  <a:lnTo>
                    <a:pt x="36" y="65"/>
                  </a:lnTo>
                  <a:lnTo>
                    <a:pt x="36" y="65"/>
                  </a:lnTo>
                  <a:lnTo>
                    <a:pt x="14" y="0"/>
                  </a:lnTo>
                  <a:lnTo>
                    <a:pt x="0" y="0"/>
                  </a:lnTo>
                  <a:lnTo>
                    <a:pt x="29" y="78"/>
                  </a:lnTo>
                  <a:lnTo>
                    <a:pt x="42" y="78"/>
                  </a:lnTo>
                  <a:lnTo>
                    <a:pt x="71"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8"/>
            <p:cNvSpPr>
              <a:spLocks noEditPoints="1"/>
            </p:cNvSpPr>
            <p:nvPr userDrawn="1"/>
          </p:nvSpPr>
          <p:spPr bwMode="auto">
            <a:xfrm>
              <a:off x="5016" y="606"/>
              <a:ext cx="72" cy="82"/>
            </a:xfrm>
            <a:custGeom>
              <a:avLst/>
              <a:gdLst>
                <a:gd name="T0" fmla="*/ 56 w 299"/>
                <a:gd name="T1" fmla="*/ 140 h 340"/>
                <a:gd name="T2" fmla="*/ 148 w 299"/>
                <a:gd name="T3" fmla="*/ 47 h 340"/>
                <a:gd name="T4" fmla="*/ 240 w 299"/>
                <a:gd name="T5" fmla="*/ 140 h 340"/>
                <a:gd name="T6" fmla="*/ 56 w 299"/>
                <a:gd name="T7" fmla="*/ 140 h 340"/>
                <a:gd name="T8" fmla="*/ 239 w 299"/>
                <a:gd name="T9" fmla="*/ 230 h 340"/>
                <a:gd name="T10" fmla="*/ 156 w 299"/>
                <a:gd name="T11" fmla="*/ 293 h 340"/>
                <a:gd name="T12" fmla="*/ 56 w 299"/>
                <a:gd name="T13" fmla="*/ 188 h 340"/>
                <a:gd name="T14" fmla="*/ 296 w 299"/>
                <a:gd name="T15" fmla="*/ 188 h 340"/>
                <a:gd name="T16" fmla="*/ 151 w 299"/>
                <a:gd name="T17" fmla="*/ 0 h 340"/>
                <a:gd name="T18" fmla="*/ 0 w 299"/>
                <a:gd name="T19" fmla="*/ 171 h 340"/>
                <a:gd name="T20" fmla="*/ 154 w 299"/>
                <a:gd name="T21" fmla="*/ 340 h 340"/>
                <a:gd name="T22" fmla="*/ 291 w 299"/>
                <a:gd name="T23" fmla="*/ 230 h 340"/>
                <a:gd name="T24" fmla="*/ 239 w 299"/>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40">
                  <a:moveTo>
                    <a:pt x="56" y="140"/>
                  </a:moveTo>
                  <a:cubicBezTo>
                    <a:pt x="60" y="90"/>
                    <a:pt x="93" y="47"/>
                    <a:pt x="148" y="47"/>
                  </a:cubicBezTo>
                  <a:cubicBezTo>
                    <a:pt x="200" y="47"/>
                    <a:pt x="238" y="89"/>
                    <a:pt x="240" y="140"/>
                  </a:cubicBezTo>
                  <a:lnTo>
                    <a:pt x="56" y="140"/>
                  </a:lnTo>
                  <a:close/>
                  <a:moveTo>
                    <a:pt x="239" y="230"/>
                  </a:moveTo>
                  <a:cubicBezTo>
                    <a:pt x="230" y="272"/>
                    <a:pt x="199" y="293"/>
                    <a:pt x="156" y="293"/>
                  </a:cubicBezTo>
                  <a:cubicBezTo>
                    <a:pt x="86" y="293"/>
                    <a:pt x="54" y="243"/>
                    <a:pt x="56" y="188"/>
                  </a:cubicBezTo>
                  <a:cubicBezTo>
                    <a:pt x="296" y="188"/>
                    <a:pt x="296" y="188"/>
                    <a:pt x="296" y="188"/>
                  </a:cubicBezTo>
                  <a:cubicBezTo>
                    <a:pt x="299" y="108"/>
                    <a:pt x="264" y="0"/>
                    <a:pt x="151" y="0"/>
                  </a:cubicBezTo>
                  <a:cubicBezTo>
                    <a:pt x="63" y="0"/>
                    <a:pt x="0" y="72"/>
                    <a:pt x="0" y="171"/>
                  </a:cubicBezTo>
                  <a:cubicBezTo>
                    <a:pt x="4" y="269"/>
                    <a:pt x="52" y="340"/>
                    <a:pt x="154" y="340"/>
                  </a:cubicBezTo>
                  <a:cubicBezTo>
                    <a:pt x="226" y="340"/>
                    <a:pt x="277" y="301"/>
                    <a:pt x="291" y="230"/>
                  </a:cubicBezTo>
                  <a:lnTo>
                    <a:pt x="239"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29"/>
            <p:cNvSpPr>
              <a:spLocks/>
            </p:cNvSpPr>
            <p:nvPr userDrawn="1"/>
          </p:nvSpPr>
          <p:spPr bwMode="auto">
            <a:xfrm>
              <a:off x="5102" y="606"/>
              <a:ext cx="64" cy="80"/>
            </a:xfrm>
            <a:custGeom>
              <a:avLst/>
              <a:gdLst>
                <a:gd name="T0" fmla="*/ 0 w 268"/>
                <a:gd name="T1" fmla="*/ 332 h 332"/>
                <a:gd name="T2" fmla="*/ 52 w 268"/>
                <a:gd name="T3" fmla="*/ 332 h 332"/>
                <a:gd name="T4" fmla="*/ 52 w 268"/>
                <a:gd name="T5" fmla="*/ 149 h 332"/>
                <a:gd name="T6" fmla="*/ 149 w 268"/>
                <a:gd name="T7" fmla="*/ 47 h 332"/>
                <a:gd name="T8" fmla="*/ 216 w 268"/>
                <a:gd name="T9" fmla="*/ 112 h 332"/>
                <a:gd name="T10" fmla="*/ 216 w 268"/>
                <a:gd name="T11" fmla="*/ 332 h 332"/>
                <a:gd name="T12" fmla="*/ 268 w 268"/>
                <a:gd name="T13" fmla="*/ 332 h 332"/>
                <a:gd name="T14" fmla="*/ 268 w 268"/>
                <a:gd name="T15" fmla="*/ 119 h 332"/>
                <a:gd name="T16" fmla="*/ 157 w 268"/>
                <a:gd name="T17" fmla="*/ 0 h 332"/>
                <a:gd name="T18" fmla="*/ 50 w 268"/>
                <a:gd name="T19" fmla="*/ 59 h 332"/>
                <a:gd name="T20" fmla="*/ 49 w 268"/>
                <a:gd name="T21" fmla="*/ 59 h 332"/>
                <a:gd name="T22" fmla="*/ 49 w 268"/>
                <a:gd name="T23" fmla="*/ 8 h 332"/>
                <a:gd name="T24" fmla="*/ 0 w 268"/>
                <a:gd name="T25" fmla="*/ 8 h 332"/>
                <a:gd name="T26" fmla="*/ 0 w 268"/>
                <a:gd name="T2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8" h="332">
                  <a:moveTo>
                    <a:pt x="0" y="332"/>
                  </a:moveTo>
                  <a:cubicBezTo>
                    <a:pt x="52" y="332"/>
                    <a:pt x="52" y="332"/>
                    <a:pt x="52" y="332"/>
                  </a:cubicBezTo>
                  <a:cubicBezTo>
                    <a:pt x="52" y="149"/>
                    <a:pt x="52" y="149"/>
                    <a:pt x="52" y="149"/>
                  </a:cubicBezTo>
                  <a:cubicBezTo>
                    <a:pt x="52" y="90"/>
                    <a:pt x="84" y="47"/>
                    <a:pt x="149" y="47"/>
                  </a:cubicBezTo>
                  <a:cubicBezTo>
                    <a:pt x="191" y="47"/>
                    <a:pt x="216" y="73"/>
                    <a:pt x="216" y="112"/>
                  </a:cubicBezTo>
                  <a:cubicBezTo>
                    <a:pt x="216" y="332"/>
                    <a:pt x="216" y="332"/>
                    <a:pt x="216" y="332"/>
                  </a:cubicBezTo>
                  <a:cubicBezTo>
                    <a:pt x="268" y="332"/>
                    <a:pt x="268" y="332"/>
                    <a:pt x="268" y="332"/>
                  </a:cubicBezTo>
                  <a:cubicBezTo>
                    <a:pt x="268" y="119"/>
                    <a:pt x="268" y="119"/>
                    <a:pt x="268" y="119"/>
                  </a:cubicBezTo>
                  <a:cubicBezTo>
                    <a:pt x="268" y="49"/>
                    <a:pt x="242" y="0"/>
                    <a:pt x="157" y="0"/>
                  </a:cubicBezTo>
                  <a:cubicBezTo>
                    <a:pt x="110" y="0"/>
                    <a:pt x="73" y="19"/>
                    <a:pt x="50" y="59"/>
                  </a:cubicBezTo>
                  <a:cubicBezTo>
                    <a:pt x="49" y="59"/>
                    <a:pt x="49" y="59"/>
                    <a:pt x="49" y="59"/>
                  </a:cubicBezTo>
                  <a:cubicBezTo>
                    <a:pt x="49" y="8"/>
                    <a:pt x="49" y="8"/>
                    <a:pt x="49" y="8"/>
                  </a:cubicBezTo>
                  <a:cubicBezTo>
                    <a:pt x="0" y="8"/>
                    <a:pt x="0" y="8"/>
                    <a:pt x="0" y="8"/>
                  </a:cubicBezTo>
                  <a:lnTo>
                    <a:pt x="0" y="33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30"/>
            <p:cNvSpPr>
              <a:spLocks/>
            </p:cNvSpPr>
            <p:nvPr userDrawn="1"/>
          </p:nvSpPr>
          <p:spPr bwMode="auto">
            <a:xfrm>
              <a:off x="5184" y="608"/>
              <a:ext cx="64" cy="80"/>
            </a:xfrm>
            <a:custGeom>
              <a:avLst/>
              <a:gdLst>
                <a:gd name="T0" fmla="*/ 267 w 267"/>
                <a:gd name="T1" fmla="*/ 0 h 332"/>
                <a:gd name="T2" fmla="*/ 216 w 267"/>
                <a:gd name="T3" fmla="*/ 0 h 332"/>
                <a:gd name="T4" fmla="*/ 216 w 267"/>
                <a:gd name="T5" fmla="*/ 183 h 332"/>
                <a:gd name="T6" fmla="*/ 118 w 267"/>
                <a:gd name="T7" fmla="*/ 285 h 332"/>
                <a:gd name="T8" fmla="*/ 51 w 267"/>
                <a:gd name="T9" fmla="*/ 220 h 332"/>
                <a:gd name="T10" fmla="*/ 51 w 267"/>
                <a:gd name="T11" fmla="*/ 0 h 332"/>
                <a:gd name="T12" fmla="*/ 0 w 267"/>
                <a:gd name="T13" fmla="*/ 0 h 332"/>
                <a:gd name="T14" fmla="*/ 0 w 267"/>
                <a:gd name="T15" fmla="*/ 213 h 332"/>
                <a:gd name="T16" fmla="*/ 111 w 267"/>
                <a:gd name="T17" fmla="*/ 332 h 332"/>
                <a:gd name="T18" fmla="*/ 218 w 267"/>
                <a:gd name="T19" fmla="*/ 273 h 332"/>
                <a:gd name="T20" fmla="*/ 219 w 267"/>
                <a:gd name="T21" fmla="*/ 273 h 332"/>
                <a:gd name="T22" fmla="*/ 219 w 267"/>
                <a:gd name="T23" fmla="*/ 324 h 332"/>
                <a:gd name="T24" fmla="*/ 267 w 267"/>
                <a:gd name="T25" fmla="*/ 324 h 332"/>
                <a:gd name="T26" fmla="*/ 267 w 267"/>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332">
                  <a:moveTo>
                    <a:pt x="267" y="0"/>
                  </a:moveTo>
                  <a:cubicBezTo>
                    <a:pt x="216" y="0"/>
                    <a:pt x="216" y="0"/>
                    <a:pt x="216" y="0"/>
                  </a:cubicBezTo>
                  <a:cubicBezTo>
                    <a:pt x="216" y="183"/>
                    <a:pt x="216" y="183"/>
                    <a:pt x="216" y="183"/>
                  </a:cubicBezTo>
                  <a:cubicBezTo>
                    <a:pt x="216" y="242"/>
                    <a:pt x="184" y="285"/>
                    <a:pt x="118" y="285"/>
                  </a:cubicBezTo>
                  <a:cubicBezTo>
                    <a:pt x="77" y="285"/>
                    <a:pt x="51" y="259"/>
                    <a:pt x="51" y="220"/>
                  </a:cubicBezTo>
                  <a:cubicBezTo>
                    <a:pt x="51" y="0"/>
                    <a:pt x="51" y="0"/>
                    <a:pt x="51" y="0"/>
                  </a:cubicBezTo>
                  <a:cubicBezTo>
                    <a:pt x="0" y="0"/>
                    <a:pt x="0" y="0"/>
                    <a:pt x="0" y="0"/>
                  </a:cubicBezTo>
                  <a:cubicBezTo>
                    <a:pt x="0" y="213"/>
                    <a:pt x="0" y="213"/>
                    <a:pt x="0" y="213"/>
                  </a:cubicBezTo>
                  <a:cubicBezTo>
                    <a:pt x="0" y="283"/>
                    <a:pt x="25" y="332"/>
                    <a:pt x="111" y="332"/>
                  </a:cubicBezTo>
                  <a:cubicBezTo>
                    <a:pt x="158" y="332"/>
                    <a:pt x="195" y="313"/>
                    <a:pt x="218" y="273"/>
                  </a:cubicBezTo>
                  <a:cubicBezTo>
                    <a:pt x="219" y="273"/>
                    <a:pt x="219" y="273"/>
                    <a:pt x="219" y="273"/>
                  </a:cubicBezTo>
                  <a:cubicBezTo>
                    <a:pt x="219" y="324"/>
                    <a:pt x="219" y="324"/>
                    <a:pt x="219" y="324"/>
                  </a:cubicBezTo>
                  <a:cubicBezTo>
                    <a:pt x="267" y="324"/>
                    <a:pt x="267" y="324"/>
                    <a:pt x="267" y="324"/>
                  </a:cubicBezTo>
                  <a:lnTo>
                    <a:pt x="26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31"/>
            <p:cNvSpPr>
              <a:spLocks noEditPoints="1"/>
            </p:cNvSpPr>
            <p:nvPr userDrawn="1"/>
          </p:nvSpPr>
          <p:spPr bwMode="auto">
            <a:xfrm>
              <a:off x="5263" y="606"/>
              <a:ext cx="72" cy="82"/>
            </a:xfrm>
            <a:custGeom>
              <a:avLst/>
              <a:gdLst>
                <a:gd name="T0" fmla="*/ 55 w 298"/>
                <a:gd name="T1" fmla="*/ 140 h 340"/>
                <a:gd name="T2" fmla="*/ 147 w 298"/>
                <a:gd name="T3" fmla="*/ 47 h 340"/>
                <a:gd name="T4" fmla="*/ 240 w 298"/>
                <a:gd name="T5" fmla="*/ 140 h 340"/>
                <a:gd name="T6" fmla="*/ 55 w 298"/>
                <a:gd name="T7" fmla="*/ 140 h 340"/>
                <a:gd name="T8" fmla="*/ 238 w 298"/>
                <a:gd name="T9" fmla="*/ 230 h 340"/>
                <a:gd name="T10" fmla="*/ 155 w 298"/>
                <a:gd name="T11" fmla="*/ 293 h 340"/>
                <a:gd name="T12" fmla="*/ 55 w 298"/>
                <a:gd name="T13" fmla="*/ 188 h 340"/>
                <a:gd name="T14" fmla="*/ 295 w 298"/>
                <a:gd name="T15" fmla="*/ 188 h 340"/>
                <a:gd name="T16" fmla="*/ 150 w 298"/>
                <a:gd name="T17" fmla="*/ 0 h 340"/>
                <a:gd name="T18" fmla="*/ 0 w 298"/>
                <a:gd name="T19" fmla="*/ 171 h 340"/>
                <a:gd name="T20" fmla="*/ 153 w 298"/>
                <a:gd name="T21" fmla="*/ 340 h 340"/>
                <a:gd name="T22" fmla="*/ 290 w 298"/>
                <a:gd name="T23" fmla="*/ 230 h 340"/>
                <a:gd name="T24" fmla="*/ 238 w 298"/>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40">
                  <a:moveTo>
                    <a:pt x="55" y="140"/>
                  </a:moveTo>
                  <a:cubicBezTo>
                    <a:pt x="59" y="90"/>
                    <a:pt x="92" y="47"/>
                    <a:pt x="147" y="47"/>
                  </a:cubicBezTo>
                  <a:cubicBezTo>
                    <a:pt x="199" y="47"/>
                    <a:pt x="237" y="89"/>
                    <a:pt x="240" y="140"/>
                  </a:cubicBezTo>
                  <a:lnTo>
                    <a:pt x="55" y="140"/>
                  </a:lnTo>
                  <a:close/>
                  <a:moveTo>
                    <a:pt x="238" y="230"/>
                  </a:moveTo>
                  <a:cubicBezTo>
                    <a:pt x="229" y="272"/>
                    <a:pt x="199" y="293"/>
                    <a:pt x="155" y="293"/>
                  </a:cubicBezTo>
                  <a:cubicBezTo>
                    <a:pt x="85" y="293"/>
                    <a:pt x="53" y="243"/>
                    <a:pt x="55" y="188"/>
                  </a:cubicBezTo>
                  <a:cubicBezTo>
                    <a:pt x="295" y="188"/>
                    <a:pt x="295" y="188"/>
                    <a:pt x="295" y="188"/>
                  </a:cubicBezTo>
                  <a:cubicBezTo>
                    <a:pt x="298" y="108"/>
                    <a:pt x="264" y="0"/>
                    <a:pt x="150" y="0"/>
                  </a:cubicBezTo>
                  <a:cubicBezTo>
                    <a:pt x="62" y="0"/>
                    <a:pt x="0" y="72"/>
                    <a:pt x="0" y="171"/>
                  </a:cubicBezTo>
                  <a:cubicBezTo>
                    <a:pt x="3" y="269"/>
                    <a:pt x="51" y="340"/>
                    <a:pt x="153" y="340"/>
                  </a:cubicBezTo>
                  <a:cubicBezTo>
                    <a:pt x="225" y="340"/>
                    <a:pt x="276" y="301"/>
                    <a:pt x="290" y="230"/>
                  </a:cubicBezTo>
                  <a:lnTo>
                    <a:pt x="238"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32"/>
            <p:cNvSpPr>
              <a:spLocks noEditPoints="1"/>
            </p:cNvSpPr>
            <p:nvPr userDrawn="1"/>
          </p:nvSpPr>
          <p:spPr bwMode="auto">
            <a:xfrm>
              <a:off x="4492" y="729"/>
              <a:ext cx="92" cy="110"/>
            </a:xfrm>
            <a:custGeom>
              <a:avLst/>
              <a:gdLst>
                <a:gd name="T0" fmla="*/ 152 w 385"/>
                <a:gd name="T1" fmla="*/ 173 h 456"/>
                <a:gd name="T2" fmla="*/ 108 w 385"/>
                <a:gd name="T3" fmla="*/ 95 h 456"/>
                <a:gd name="T4" fmla="*/ 160 w 385"/>
                <a:gd name="T5" fmla="*/ 47 h 456"/>
                <a:gd name="T6" fmla="*/ 212 w 385"/>
                <a:gd name="T7" fmla="*/ 95 h 456"/>
                <a:gd name="T8" fmla="*/ 152 w 385"/>
                <a:gd name="T9" fmla="*/ 173 h 456"/>
                <a:gd name="T10" fmla="*/ 315 w 385"/>
                <a:gd name="T11" fmla="*/ 448 h 456"/>
                <a:gd name="T12" fmla="*/ 385 w 385"/>
                <a:gd name="T13" fmla="*/ 448 h 456"/>
                <a:gd name="T14" fmla="*/ 297 w 385"/>
                <a:gd name="T15" fmla="*/ 347 h 456"/>
                <a:gd name="T16" fmla="*/ 327 w 385"/>
                <a:gd name="T17" fmla="*/ 237 h 456"/>
                <a:gd name="T18" fmla="*/ 277 w 385"/>
                <a:gd name="T19" fmla="*/ 237 h 456"/>
                <a:gd name="T20" fmla="*/ 261 w 385"/>
                <a:gd name="T21" fmla="*/ 306 h 456"/>
                <a:gd name="T22" fmla="*/ 181 w 385"/>
                <a:gd name="T23" fmla="*/ 208 h 456"/>
                <a:gd name="T24" fmla="*/ 264 w 385"/>
                <a:gd name="T25" fmla="*/ 92 h 456"/>
                <a:gd name="T26" fmla="*/ 156 w 385"/>
                <a:gd name="T27" fmla="*/ 0 h 456"/>
                <a:gd name="T28" fmla="*/ 56 w 385"/>
                <a:gd name="T29" fmla="*/ 92 h 456"/>
                <a:gd name="T30" fmla="*/ 104 w 385"/>
                <a:gd name="T31" fmla="*/ 198 h 456"/>
                <a:gd name="T32" fmla="*/ 0 w 385"/>
                <a:gd name="T33" fmla="*/ 333 h 456"/>
                <a:gd name="T34" fmla="*/ 140 w 385"/>
                <a:gd name="T35" fmla="*/ 456 h 456"/>
                <a:gd name="T36" fmla="*/ 266 w 385"/>
                <a:gd name="T37" fmla="*/ 393 h 456"/>
                <a:gd name="T38" fmla="*/ 315 w 385"/>
                <a:gd name="T39" fmla="*/ 448 h 456"/>
                <a:gd name="T40" fmla="*/ 237 w 385"/>
                <a:gd name="T41" fmla="*/ 355 h 456"/>
                <a:gd name="T42" fmla="*/ 142 w 385"/>
                <a:gd name="T43" fmla="*/ 409 h 456"/>
                <a:gd name="T44" fmla="*/ 56 w 385"/>
                <a:gd name="T45" fmla="*/ 333 h 456"/>
                <a:gd name="T46" fmla="*/ 134 w 385"/>
                <a:gd name="T47" fmla="*/ 232 h 456"/>
                <a:gd name="T48" fmla="*/ 237 w 385"/>
                <a:gd name="T49" fmla="*/ 355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56">
                  <a:moveTo>
                    <a:pt x="152" y="173"/>
                  </a:moveTo>
                  <a:cubicBezTo>
                    <a:pt x="132" y="148"/>
                    <a:pt x="108" y="122"/>
                    <a:pt x="108" y="95"/>
                  </a:cubicBezTo>
                  <a:cubicBezTo>
                    <a:pt x="108" y="62"/>
                    <a:pt x="135" y="47"/>
                    <a:pt x="160" y="47"/>
                  </a:cubicBezTo>
                  <a:cubicBezTo>
                    <a:pt x="192" y="47"/>
                    <a:pt x="212" y="69"/>
                    <a:pt x="212" y="95"/>
                  </a:cubicBezTo>
                  <a:cubicBezTo>
                    <a:pt x="212" y="132"/>
                    <a:pt x="178" y="156"/>
                    <a:pt x="152" y="173"/>
                  </a:cubicBezTo>
                  <a:close/>
                  <a:moveTo>
                    <a:pt x="315" y="448"/>
                  </a:moveTo>
                  <a:cubicBezTo>
                    <a:pt x="385" y="448"/>
                    <a:pt x="385" y="448"/>
                    <a:pt x="385" y="448"/>
                  </a:cubicBezTo>
                  <a:cubicBezTo>
                    <a:pt x="297" y="347"/>
                    <a:pt x="297" y="347"/>
                    <a:pt x="297" y="347"/>
                  </a:cubicBezTo>
                  <a:cubicBezTo>
                    <a:pt x="316" y="307"/>
                    <a:pt x="323" y="289"/>
                    <a:pt x="327" y="237"/>
                  </a:cubicBezTo>
                  <a:cubicBezTo>
                    <a:pt x="277" y="237"/>
                    <a:pt x="277" y="237"/>
                    <a:pt x="277" y="237"/>
                  </a:cubicBezTo>
                  <a:cubicBezTo>
                    <a:pt x="275" y="260"/>
                    <a:pt x="269" y="284"/>
                    <a:pt x="261" y="306"/>
                  </a:cubicBezTo>
                  <a:cubicBezTo>
                    <a:pt x="181" y="208"/>
                    <a:pt x="181" y="208"/>
                    <a:pt x="181" y="208"/>
                  </a:cubicBezTo>
                  <a:cubicBezTo>
                    <a:pt x="224" y="183"/>
                    <a:pt x="264" y="145"/>
                    <a:pt x="264" y="92"/>
                  </a:cubicBezTo>
                  <a:cubicBezTo>
                    <a:pt x="264" y="31"/>
                    <a:pt x="213" y="0"/>
                    <a:pt x="156" y="0"/>
                  </a:cubicBezTo>
                  <a:cubicBezTo>
                    <a:pt x="91" y="0"/>
                    <a:pt x="56" y="43"/>
                    <a:pt x="56" y="92"/>
                  </a:cubicBezTo>
                  <a:cubicBezTo>
                    <a:pt x="56" y="138"/>
                    <a:pt x="80" y="162"/>
                    <a:pt x="104" y="198"/>
                  </a:cubicBezTo>
                  <a:cubicBezTo>
                    <a:pt x="47" y="228"/>
                    <a:pt x="0" y="263"/>
                    <a:pt x="0" y="333"/>
                  </a:cubicBezTo>
                  <a:cubicBezTo>
                    <a:pt x="0" y="370"/>
                    <a:pt x="19" y="456"/>
                    <a:pt x="140" y="456"/>
                  </a:cubicBezTo>
                  <a:cubicBezTo>
                    <a:pt x="189" y="456"/>
                    <a:pt x="240" y="435"/>
                    <a:pt x="266" y="393"/>
                  </a:cubicBezTo>
                  <a:lnTo>
                    <a:pt x="315" y="448"/>
                  </a:lnTo>
                  <a:close/>
                  <a:moveTo>
                    <a:pt x="237" y="355"/>
                  </a:moveTo>
                  <a:cubicBezTo>
                    <a:pt x="216" y="388"/>
                    <a:pt x="183" y="409"/>
                    <a:pt x="142" y="409"/>
                  </a:cubicBezTo>
                  <a:cubicBezTo>
                    <a:pt x="98" y="409"/>
                    <a:pt x="56" y="378"/>
                    <a:pt x="56" y="333"/>
                  </a:cubicBezTo>
                  <a:cubicBezTo>
                    <a:pt x="56" y="279"/>
                    <a:pt x="92" y="256"/>
                    <a:pt x="134" y="232"/>
                  </a:cubicBezTo>
                  <a:lnTo>
                    <a:pt x="237" y="35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33"/>
            <p:cNvSpPr>
              <a:spLocks/>
            </p:cNvSpPr>
            <p:nvPr userDrawn="1"/>
          </p:nvSpPr>
          <p:spPr bwMode="auto">
            <a:xfrm>
              <a:off x="4617" y="727"/>
              <a:ext cx="97" cy="112"/>
            </a:xfrm>
            <a:custGeom>
              <a:avLst/>
              <a:gdLst>
                <a:gd name="T0" fmla="*/ 395 w 399"/>
                <a:gd name="T1" fmla="*/ 144 h 464"/>
                <a:gd name="T2" fmla="*/ 211 w 399"/>
                <a:gd name="T3" fmla="*/ 0 h 464"/>
                <a:gd name="T4" fmla="*/ 0 w 399"/>
                <a:gd name="T5" fmla="*/ 233 h 464"/>
                <a:gd name="T6" fmla="*/ 206 w 399"/>
                <a:gd name="T7" fmla="*/ 464 h 464"/>
                <a:gd name="T8" fmla="*/ 399 w 399"/>
                <a:gd name="T9" fmla="*/ 286 h 464"/>
                <a:gd name="T10" fmla="*/ 340 w 399"/>
                <a:gd name="T11" fmla="*/ 286 h 464"/>
                <a:gd name="T12" fmla="*/ 211 w 399"/>
                <a:gd name="T13" fmla="*/ 414 h 464"/>
                <a:gd name="T14" fmla="*/ 59 w 399"/>
                <a:gd name="T15" fmla="*/ 229 h 464"/>
                <a:gd name="T16" fmla="*/ 210 w 399"/>
                <a:gd name="T17" fmla="*/ 50 h 464"/>
                <a:gd name="T18" fmla="*/ 335 w 399"/>
                <a:gd name="T19" fmla="*/ 144 h 464"/>
                <a:gd name="T20" fmla="*/ 395 w 399"/>
                <a:gd name="T21" fmla="*/ 1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464">
                  <a:moveTo>
                    <a:pt x="395" y="144"/>
                  </a:moveTo>
                  <a:cubicBezTo>
                    <a:pt x="381" y="50"/>
                    <a:pt x="304" y="0"/>
                    <a:pt x="211" y="0"/>
                  </a:cubicBezTo>
                  <a:cubicBezTo>
                    <a:pt x="74" y="0"/>
                    <a:pt x="0" y="105"/>
                    <a:pt x="0" y="233"/>
                  </a:cubicBezTo>
                  <a:cubicBezTo>
                    <a:pt x="0" y="362"/>
                    <a:pt x="67" y="464"/>
                    <a:pt x="206" y="464"/>
                  </a:cubicBezTo>
                  <a:cubicBezTo>
                    <a:pt x="318" y="464"/>
                    <a:pt x="388" y="396"/>
                    <a:pt x="399" y="286"/>
                  </a:cubicBezTo>
                  <a:cubicBezTo>
                    <a:pt x="340" y="286"/>
                    <a:pt x="340" y="286"/>
                    <a:pt x="340" y="286"/>
                  </a:cubicBezTo>
                  <a:cubicBezTo>
                    <a:pt x="334" y="359"/>
                    <a:pt x="289" y="414"/>
                    <a:pt x="211" y="414"/>
                  </a:cubicBezTo>
                  <a:cubicBezTo>
                    <a:pt x="104" y="414"/>
                    <a:pt x="59" y="330"/>
                    <a:pt x="59" y="229"/>
                  </a:cubicBezTo>
                  <a:cubicBezTo>
                    <a:pt x="59" y="137"/>
                    <a:pt x="104" y="50"/>
                    <a:pt x="210" y="50"/>
                  </a:cubicBezTo>
                  <a:cubicBezTo>
                    <a:pt x="272" y="50"/>
                    <a:pt x="323" y="82"/>
                    <a:pt x="335" y="144"/>
                  </a:cubicBezTo>
                  <a:lnTo>
                    <a:pt x="395" y="14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34"/>
            <p:cNvSpPr>
              <a:spLocks/>
            </p:cNvSpPr>
            <p:nvPr userDrawn="1"/>
          </p:nvSpPr>
          <p:spPr bwMode="auto">
            <a:xfrm>
              <a:off x="4730" y="759"/>
              <a:ext cx="65" cy="80"/>
            </a:xfrm>
            <a:custGeom>
              <a:avLst/>
              <a:gdLst>
                <a:gd name="T0" fmla="*/ 268 w 268"/>
                <a:gd name="T1" fmla="*/ 0 h 332"/>
                <a:gd name="T2" fmla="*/ 216 w 268"/>
                <a:gd name="T3" fmla="*/ 0 h 332"/>
                <a:gd name="T4" fmla="*/ 216 w 268"/>
                <a:gd name="T5" fmla="*/ 183 h 332"/>
                <a:gd name="T6" fmla="*/ 119 w 268"/>
                <a:gd name="T7" fmla="*/ 285 h 332"/>
                <a:gd name="T8" fmla="*/ 52 w 268"/>
                <a:gd name="T9" fmla="*/ 220 h 332"/>
                <a:gd name="T10" fmla="*/ 52 w 268"/>
                <a:gd name="T11" fmla="*/ 0 h 332"/>
                <a:gd name="T12" fmla="*/ 0 w 268"/>
                <a:gd name="T13" fmla="*/ 0 h 332"/>
                <a:gd name="T14" fmla="*/ 0 w 268"/>
                <a:gd name="T15" fmla="*/ 213 h 332"/>
                <a:gd name="T16" fmla="*/ 111 w 268"/>
                <a:gd name="T17" fmla="*/ 332 h 332"/>
                <a:gd name="T18" fmla="*/ 218 w 268"/>
                <a:gd name="T19" fmla="*/ 273 h 332"/>
                <a:gd name="T20" fmla="*/ 219 w 268"/>
                <a:gd name="T21" fmla="*/ 273 h 332"/>
                <a:gd name="T22" fmla="*/ 219 w 268"/>
                <a:gd name="T23" fmla="*/ 324 h 332"/>
                <a:gd name="T24" fmla="*/ 268 w 268"/>
                <a:gd name="T25" fmla="*/ 324 h 332"/>
                <a:gd name="T26" fmla="*/ 268 w 268"/>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8" h="332">
                  <a:moveTo>
                    <a:pt x="268" y="0"/>
                  </a:moveTo>
                  <a:cubicBezTo>
                    <a:pt x="216" y="0"/>
                    <a:pt x="216" y="0"/>
                    <a:pt x="216" y="0"/>
                  </a:cubicBezTo>
                  <a:cubicBezTo>
                    <a:pt x="216" y="183"/>
                    <a:pt x="216" y="183"/>
                    <a:pt x="216" y="183"/>
                  </a:cubicBezTo>
                  <a:cubicBezTo>
                    <a:pt x="216" y="242"/>
                    <a:pt x="184" y="285"/>
                    <a:pt x="119" y="285"/>
                  </a:cubicBezTo>
                  <a:cubicBezTo>
                    <a:pt x="77" y="285"/>
                    <a:pt x="52" y="259"/>
                    <a:pt x="52" y="220"/>
                  </a:cubicBezTo>
                  <a:cubicBezTo>
                    <a:pt x="52" y="0"/>
                    <a:pt x="52" y="0"/>
                    <a:pt x="52" y="0"/>
                  </a:cubicBezTo>
                  <a:cubicBezTo>
                    <a:pt x="0" y="0"/>
                    <a:pt x="0" y="0"/>
                    <a:pt x="0" y="0"/>
                  </a:cubicBezTo>
                  <a:cubicBezTo>
                    <a:pt x="0" y="213"/>
                    <a:pt x="0" y="213"/>
                    <a:pt x="0" y="213"/>
                  </a:cubicBezTo>
                  <a:cubicBezTo>
                    <a:pt x="0" y="283"/>
                    <a:pt x="26" y="332"/>
                    <a:pt x="111" y="332"/>
                  </a:cubicBezTo>
                  <a:cubicBezTo>
                    <a:pt x="158" y="332"/>
                    <a:pt x="195" y="313"/>
                    <a:pt x="218" y="273"/>
                  </a:cubicBezTo>
                  <a:cubicBezTo>
                    <a:pt x="219" y="273"/>
                    <a:pt x="219" y="273"/>
                    <a:pt x="219" y="273"/>
                  </a:cubicBezTo>
                  <a:cubicBezTo>
                    <a:pt x="219" y="324"/>
                    <a:pt x="219" y="324"/>
                    <a:pt x="219" y="324"/>
                  </a:cubicBezTo>
                  <a:cubicBezTo>
                    <a:pt x="268" y="324"/>
                    <a:pt x="268" y="324"/>
                    <a:pt x="268" y="324"/>
                  </a:cubicBezTo>
                  <a:lnTo>
                    <a:pt x="26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35"/>
            <p:cNvSpPr>
              <a:spLocks/>
            </p:cNvSpPr>
            <p:nvPr userDrawn="1"/>
          </p:nvSpPr>
          <p:spPr bwMode="auto">
            <a:xfrm>
              <a:off x="4808" y="757"/>
              <a:ext cx="67" cy="82"/>
            </a:xfrm>
            <a:custGeom>
              <a:avLst/>
              <a:gdLst>
                <a:gd name="T0" fmla="*/ 0 w 276"/>
                <a:gd name="T1" fmla="*/ 230 h 340"/>
                <a:gd name="T2" fmla="*/ 137 w 276"/>
                <a:gd name="T3" fmla="*/ 340 h 340"/>
                <a:gd name="T4" fmla="*/ 276 w 276"/>
                <a:gd name="T5" fmla="*/ 238 h 340"/>
                <a:gd name="T6" fmla="*/ 170 w 276"/>
                <a:gd name="T7" fmla="*/ 145 h 340"/>
                <a:gd name="T8" fmla="*/ 64 w 276"/>
                <a:gd name="T9" fmla="*/ 89 h 340"/>
                <a:gd name="T10" fmla="*/ 133 w 276"/>
                <a:gd name="T11" fmla="*/ 47 h 340"/>
                <a:gd name="T12" fmla="*/ 208 w 276"/>
                <a:gd name="T13" fmla="*/ 102 h 340"/>
                <a:gd name="T14" fmla="*/ 260 w 276"/>
                <a:gd name="T15" fmla="*/ 102 h 340"/>
                <a:gd name="T16" fmla="*/ 128 w 276"/>
                <a:gd name="T17" fmla="*/ 0 h 340"/>
                <a:gd name="T18" fmla="*/ 8 w 276"/>
                <a:gd name="T19" fmla="*/ 92 h 340"/>
                <a:gd name="T20" fmla="*/ 113 w 276"/>
                <a:gd name="T21" fmla="*/ 184 h 340"/>
                <a:gd name="T22" fmla="*/ 220 w 276"/>
                <a:gd name="T23" fmla="*/ 244 h 340"/>
                <a:gd name="T24" fmla="*/ 140 w 276"/>
                <a:gd name="T25" fmla="*/ 293 h 340"/>
                <a:gd name="T26" fmla="*/ 52 w 276"/>
                <a:gd name="T27" fmla="*/ 230 h 340"/>
                <a:gd name="T28" fmla="*/ 0 w 276"/>
                <a:gd name="T29"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40">
                  <a:moveTo>
                    <a:pt x="0" y="230"/>
                  </a:moveTo>
                  <a:cubicBezTo>
                    <a:pt x="3" y="310"/>
                    <a:pt x="63" y="340"/>
                    <a:pt x="137" y="340"/>
                  </a:cubicBezTo>
                  <a:cubicBezTo>
                    <a:pt x="204" y="340"/>
                    <a:pt x="276" y="315"/>
                    <a:pt x="276" y="238"/>
                  </a:cubicBezTo>
                  <a:cubicBezTo>
                    <a:pt x="276" y="175"/>
                    <a:pt x="224" y="157"/>
                    <a:pt x="170" y="145"/>
                  </a:cubicBezTo>
                  <a:cubicBezTo>
                    <a:pt x="120" y="133"/>
                    <a:pt x="64" y="127"/>
                    <a:pt x="64" y="89"/>
                  </a:cubicBezTo>
                  <a:cubicBezTo>
                    <a:pt x="64" y="56"/>
                    <a:pt x="101" y="47"/>
                    <a:pt x="133" y="47"/>
                  </a:cubicBezTo>
                  <a:cubicBezTo>
                    <a:pt x="168" y="47"/>
                    <a:pt x="204" y="60"/>
                    <a:pt x="208" y="102"/>
                  </a:cubicBezTo>
                  <a:cubicBezTo>
                    <a:pt x="260" y="102"/>
                    <a:pt x="260" y="102"/>
                    <a:pt x="260" y="102"/>
                  </a:cubicBezTo>
                  <a:cubicBezTo>
                    <a:pt x="255" y="23"/>
                    <a:pt x="200" y="0"/>
                    <a:pt x="128" y="0"/>
                  </a:cubicBezTo>
                  <a:cubicBezTo>
                    <a:pt x="72" y="0"/>
                    <a:pt x="8" y="27"/>
                    <a:pt x="8" y="92"/>
                  </a:cubicBezTo>
                  <a:cubicBezTo>
                    <a:pt x="8" y="155"/>
                    <a:pt x="60" y="172"/>
                    <a:pt x="113" y="184"/>
                  </a:cubicBezTo>
                  <a:cubicBezTo>
                    <a:pt x="166" y="196"/>
                    <a:pt x="220" y="203"/>
                    <a:pt x="220" y="244"/>
                  </a:cubicBezTo>
                  <a:cubicBezTo>
                    <a:pt x="220" y="285"/>
                    <a:pt x="174" y="293"/>
                    <a:pt x="140" y="293"/>
                  </a:cubicBezTo>
                  <a:cubicBezTo>
                    <a:pt x="96" y="293"/>
                    <a:pt x="53" y="278"/>
                    <a:pt x="52" y="230"/>
                  </a:cubicBezTo>
                  <a:lnTo>
                    <a:pt x="0"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36"/>
            <p:cNvSpPr>
              <a:spLocks/>
            </p:cNvSpPr>
            <p:nvPr userDrawn="1"/>
          </p:nvSpPr>
          <p:spPr bwMode="auto">
            <a:xfrm>
              <a:off x="4881" y="736"/>
              <a:ext cx="41" cy="101"/>
            </a:xfrm>
            <a:custGeom>
              <a:avLst/>
              <a:gdLst>
                <a:gd name="T0" fmla="*/ 107 w 172"/>
                <a:gd name="T1" fmla="*/ 0 h 421"/>
                <a:gd name="T2" fmla="*/ 56 w 172"/>
                <a:gd name="T3" fmla="*/ 0 h 421"/>
                <a:gd name="T4" fmla="*/ 56 w 172"/>
                <a:gd name="T5" fmla="*/ 97 h 421"/>
                <a:gd name="T6" fmla="*/ 0 w 172"/>
                <a:gd name="T7" fmla="*/ 97 h 421"/>
                <a:gd name="T8" fmla="*/ 0 w 172"/>
                <a:gd name="T9" fmla="*/ 144 h 421"/>
                <a:gd name="T10" fmla="*/ 56 w 172"/>
                <a:gd name="T11" fmla="*/ 144 h 421"/>
                <a:gd name="T12" fmla="*/ 56 w 172"/>
                <a:gd name="T13" fmla="*/ 350 h 421"/>
                <a:gd name="T14" fmla="*/ 131 w 172"/>
                <a:gd name="T15" fmla="*/ 421 h 421"/>
                <a:gd name="T16" fmla="*/ 172 w 172"/>
                <a:gd name="T17" fmla="*/ 421 h 421"/>
                <a:gd name="T18" fmla="*/ 172 w 172"/>
                <a:gd name="T19" fmla="*/ 374 h 421"/>
                <a:gd name="T20" fmla="*/ 147 w 172"/>
                <a:gd name="T21" fmla="*/ 374 h 421"/>
                <a:gd name="T22" fmla="*/ 107 w 172"/>
                <a:gd name="T23" fmla="*/ 345 h 421"/>
                <a:gd name="T24" fmla="*/ 107 w 172"/>
                <a:gd name="T25" fmla="*/ 144 h 421"/>
                <a:gd name="T26" fmla="*/ 172 w 172"/>
                <a:gd name="T27" fmla="*/ 144 h 421"/>
                <a:gd name="T28" fmla="*/ 172 w 172"/>
                <a:gd name="T29" fmla="*/ 97 h 421"/>
                <a:gd name="T30" fmla="*/ 107 w 172"/>
                <a:gd name="T31" fmla="*/ 97 h 421"/>
                <a:gd name="T32" fmla="*/ 107 w 172"/>
                <a:gd name="T3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2" h="421">
                  <a:moveTo>
                    <a:pt x="107" y="0"/>
                  </a:moveTo>
                  <a:cubicBezTo>
                    <a:pt x="56" y="0"/>
                    <a:pt x="56" y="0"/>
                    <a:pt x="56" y="0"/>
                  </a:cubicBezTo>
                  <a:cubicBezTo>
                    <a:pt x="56" y="97"/>
                    <a:pt x="56" y="97"/>
                    <a:pt x="56" y="97"/>
                  </a:cubicBezTo>
                  <a:cubicBezTo>
                    <a:pt x="0" y="97"/>
                    <a:pt x="0" y="97"/>
                    <a:pt x="0" y="97"/>
                  </a:cubicBezTo>
                  <a:cubicBezTo>
                    <a:pt x="0" y="144"/>
                    <a:pt x="0" y="144"/>
                    <a:pt x="0" y="144"/>
                  </a:cubicBezTo>
                  <a:cubicBezTo>
                    <a:pt x="56" y="144"/>
                    <a:pt x="56" y="144"/>
                    <a:pt x="56" y="144"/>
                  </a:cubicBezTo>
                  <a:cubicBezTo>
                    <a:pt x="56" y="350"/>
                    <a:pt x="56" y="350"/>
                    <a:pt x="56" y="350"/>
                  </a:cubicBezTo>
                  <a:cubicBezTo>
                    <a:pt x="56" y="410"/>
                    <a:pt x="77" y="421"/>
                    <a:pt x="131" y="421"/>
                  </a:cubicBezTo>
                  <a:cubicBezTo>
                    <a:pt x="172" y="421"/>
                    <a:pt x="172" y="421"/>
                    <a:pt x="172" y="421"/>
                  </a:cubicBezTo>
                  <a:cubicBezTo>
                    <a:pt x="172" y="374"/>
                    <a:pt x="172" y="374"/>
                    <a:pt x="172" y="374"/>
                  </a:cubicBezTo>
                  <a:cubicBezTo>
                    <a:pt x="147" y="374"/>
                    <a:pt x="147" y="374"/>
                    <a:pt x="147" y="374"/>
                  </a:cubicBezTo>
                  <a:cubicBezTo>
                    <a:pt x="114" y="374"/>
                    <a:pt x="107" y="370"/>
                    <a:pt x="107" y="345"/>
                  </a:cubicBezTo>
                  <a:cubicBezTo>
                    <a:pt x="107" y="144"/>
                    <a:pt x="107" y="144"/>
                    <a:pt x="107" y="144"/>
                  </a:cubicBezTo>
                  <a:cubicBezTo>
                    <a:pt x="172" y="144"/>
                    <a:pt x="172" y="144"/>
                    <a:pt x="172" y="144"/>
                  </a:cubicBezTo>
                  <a:cubicBezTo>
                    <a:pt x="172" y="97"/>
                    <a:pt x="172" y="97"/>
                    <a:pt x="172" y="97"/>
                  </a:cubicBezTo>
                  <a:cubicBezTo>
                    <a:pt x="107" y="97"/>
                    <a:pt x="107" y="97"/>
                    <a:pt x="107" y="97"/>
                  </a:cubicBezTo>
                  <a:lnTo>
                    <a:pt x="10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37"/>
            <p:cNvSpPr>
              <a:spLocks noEditPoints="1"/>
            </p:cNvSpPr>
            <p:nvPr userDrawn="1"/>
          </p:nvSpPr>
          <p:spPr bwMode="auto">
            <a:xfrm>
              <a:off x="4933" y="757"/>
              <a:ext cx="75" cy="82"/>
            </a:xfrm>
            <a:custGeom>
              <a:avLst/>
              <a:gdLst>
                <a:gd name="T0" fmla="*/ 56 w 312"/>
                <a:gd name="T1" fmla="*/ 170 h 340"/>
                <a:gd name="T2" fmla="*/ 156 w 312"/>
                <a:gd name="T3" fmla="*/ 47 h 340"/>
                <a:gd name="T4" fmla="*/ 256 w 312"/>
                <a:gd name="T5" fmla="*/ 170 h 340"/>
                <a:gd name="T6" fmla="*/ 156 w 312"/>
                <a:gd name="T7" fmla="*/ 293 h 340"/>
                <a:gd name="T8" fmla="*/ 56 w 312"/>
                <a:gd name="T9" fmla="*/ 170 h 340"/>
                <a:gd name="T10" fmla="*/ 0 w 312"/>
                <a:gd name="T11" fmla="*/ 170 h 340"/>
                <a:gd name="T12" fmla="*/ 156 w 312"/>
                <a:gd name="T13" fmla="*/ 340 h 340"/>
                <a:gd name="T14" fmla="*/ 312 w 312"/>
                <a:gd name="T15" fmla="*/ 170 h 340"/>
                <a:gd name="T16" fmla="*/ 156 w 312"/>
                <a:gd name="T17" fmla="*/ 0 h 340"/>
                <a:gd name="T18" fmla="*/ 0 w 312"/>
                <a:gd name="T19" fmla="*/ 17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0">
                  <a:moveTo>
                    <a:pt x="56" y="170"/>
                  </a:moveTo>
                  <a:cubicBezTo>
                    <a:pt x="56" y="91"/>
                    <a:pt x="101" y="47"/>
                    <a:pt x="156" y="47"/>
                  </a:cubicBezTo>
                  <a:cubicBezTo>
                    <a:pt x="212" y="47"/>
                    <a:pt x="256" y="91"/>
                    <a:pt x="256" y="170"/>
                  </a:cubicBezTo>
                  <a:cubicBezTo>
                    <a:pt x="256" y="249"/>
                    <a:pt x="212" y="293"/>
                    <a:pt x="156" y="293"/>
                  </a:cubicBezTo>
                  <a:cubicBezTo>
                    <a:pt x="101" y="293"/>
                    <a:pt x="56" y="249"/>
                    <a:pt x="56" y="170"/>
                  </a:cubicBezTo>
                  <a:close/>
                  <a:moveTo>
                    <a:pt x="0" y="170"/>
                  </a:moveTo>
                  <a:cubicBezTo>
                    <a:pt x="0" y="265"/>
                    <a:pt x="54" y="340"/>
                    <a:pt x="156" y="340"/>
                  </a:cubicBezTo>
                  <a:cubicBezTo>
                    <a:pt x="258" y="340"/>
                    <a:pt x="312" y="265"/>
                    <a:pt x="312" y="170"/>
                  </a:cubicBezTo>
                  <a:cubicBezTo>
                    <a:pt x="312" y="75"/>
                    <a:pt x="258" y="0"/>
                    <a:pt x="156" y="0"/>
                  </a:cubicBezTo>
                  <a:cubicBezTo>
                    <a:pt x="54" y="0"/>
                    <a:pt x="0" y="75"/>
                    <a:pt x="0" y="17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38"/>
            <p:cNvSpPr>
              <a:spLocks/>
            </p:cNvSpPr>
            <p:nvPr userDrawn="1"/>
          </p:nvSpPr>
          <p:spPr bwMode="auto">
            <a:xfrm>
              <a:off x="5024" y="757"/>
              <a:ext cx="109" cy="80"/>
            </a:xfrm>
            <a:custGeom>
              <a:avLst/>
              <a:gdLst>
                <a:gd name="T0" fmla="*/ 0 w 452"/>
                <a:gd name="T1" fmla="*/ 332 h 332"/>
                <a:gd name="T2" fmla="*/ 52 w 452"/>
                <a:gd name="T3" fmla="*/ 332 h 332"/>
                <a:gd name="T4" fmla="*/ 52 w 452"/>
                <a:gd name="T5" fmla="*/ 130 h 332"/>
                <a:gd name="T6" fmla="*/ 139 w 452"/>
                <a:gd name="T7" fmla="*/ 47 h 332"/>
                <a:gd name="T8" fmla="*/ 200 w 452"/>
                <a:gd name="T9" fmla="*/ 119 h 332"/>
                <a:gd name="T10" fmla="*/ 200 w 452"/>
                <a:gd name="T11" fmla="*/ 332 h 332"/>
                <a:gd name="T12" fmla="*/ 252 w 452"/>
                <a:gd name="T13" fmla="*/ 332 h 332"/>
                <a:gd name="T14" fmla="*/ 252 w 452"/>
                <a:gd name="T15" fmla="*/ 130 h 332"/>
                <a:gd name="T16" fmla="*/ 337 w 452"/>
                <a:gd name="T17" fmla="*/ 47 h 332"/>
                <a:gd name="T18" fmla="*/ 400 w 452"/>
                <a:gd name="T19" fmla="*/ 119 h 332"/>
                <a:gd name="T20" fmla="*/ 400 w 452"/>
                <a:gd name="T21" fmla="*/ 332 h 332"/>
                <a:gd name="T22" fmla="*/ 452 w 452"/>
                <a:gd name="T23" fmla="*/ 332 h 332"/>
                <a:gd name="T24" fmla="*/ 452 w 452"/>
                <a:gd name="T25" fmla="*/ 94 h 332"/>
                <a:gd name="T26" fmla="*/ 345 w 452"/>
                <a:gd name="T27" fmla="*/ 0 h 332"/>
                <a:gd name="T28" fmla="*/ 243 w 452"/>
                <a:gd name="T29" fmla="*/ 55 h 332"/>
                <a:gd name="T30" fmla="*/ 155 w 452"/>
                <a:gd name="T31" fmla="*/ 0 h 332"/>
                <a:gd name="T32" fmla="*/ 50 w 452"/>
                <a:gd name="T33" fmla="*/ 55 h 332"/>
                <a:gd name="T34" fmla="*/ 49 w 452"/>
                <a:gd name="T35" fmla="*/ 55 h 332"/>
                <a:gd name="T36" fmla="*/ 49 w 452"/>
                <a:gd name="T37" fmla="*/ 8 h 332"/>
                <a:gd name="T38" fmla="*/ 0 w 452"/>
                <a:gd name="T39" fmla="*/ 8 h 332"/>
                <a:gd name="T40" fmla="*/ 0 w 452"/>
                <a:gd name="T41"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 h="332">
                  <a:moveTo>
                    <a:pt x="0" y="332"/>
                  </a:moveTo>
                  <a:cubicBezTo>
                    <a:pt x="52" y="332"/>
                    <a:pt x="52" y="332"/>
                    <a:pt x="52" y="332"/>
                  </a:cubicBezTo>
                  <a:cubicBezTo>
                    <a:pt x="52" y="130"/>
                    <a:pt x="52" y="130"/>
                    <a:pt x="52" y="130"/>
                  </a:cubicBezTo>
                  <a:cubicBezTo>
                    <a:pt x="52" y="105"/>
                    <a:pt x="75" y="47"/>
                    <a:pt x="139" y="47"/>
                  </a:cubicBezTo>
                  <a:cubicBezTo>
                    <a:pt x="187" y="47"/>
                    <a:pt x="200" y="77"/>
                    <a:pt x="200" y="119"/>
                  </a:cubicBezTo>
                  <a:cubicBezTo>
                    <a:pt x="200" y="332"/>
                    <a:pt x="200" y="332"/>
                    <a:pt x="200" y="332"/>
                  </a:cubicBezTo>
                  <a:cubicBezTo>
                    <a:pt x="252" y="332"/>
                    <a:pt x="252" y="332"/>
                    <a:pt x="252" y="332"/>
                  </a:cubicBezTo>
                  <a:cubicBezTo>
                    <a:pt x="252" y="130"/>
                    <a:pt x="252" y="130"/>
                    <a:pt x="252" y="130"/>
                  </a:cubicBezTo>
                  <a:cubicBezTo>
                    <a:pt x="252" y="80"/>
                    <a:pt x="285" y="47"/>
                    <a:pt x="337" y="47"/>
                  </a:cubicBezTo>
                  <a:cubicBezTo>
                    <a:pt x="389" y="47"/>
                    <a:pt x="400" y="79"/>
                    <a:pt x="400" y="119"/>
                  </a:cubicBezTo>
                  <a:cubicBezTo>
                    <a:pt x="400" y="332"/>
                    <a:pt x="400" y="332"/>
                    <a:pt x="400" y="332"/>
                  </a:cubicBezTo>
                  <a:cubicBezTo>
                    <a:pt x="452" y="332"/>
                    <a:pt x="452" y="332"/>
                    <a:pt x="452" y="332"/>
                  </a:cubicBezTo>
                  <a:cubicBezTo>
                    <a:pt x="452" y="94"/>
                    <a:pt x="452" y="94"/>
                    <a:pt x="452" y="94"/>
                  </a:cubicBezTo>
                  <a:cubicBezTo>
                    <a:pt x="452" y="27"/>
                    <a:pt x="410" y="0"/>
                    <a:pt x="345" y="0"/>
                  </a:cubicBezTo>
                  <a:cubicBezTo>
                    <a:pt x="303" y="0"/>
                    <a:pt x="265" y="21"/>
                    <a:pt x="243" y="55"/>
                  </a:cubicBezTo>
                  <a:cubicBezTo>
                    <a:pt x="230" y="16"/>
                    <a:pt x="195" y="0"/>
                    <a:pt x="155" y="0"/>
                  </a:cubicBezTo>
                  <a:cubicBezTo>
                    <a:pt x="110" y="0"/>
                    <a:pt x="74" y="19"/>
                    <a:pt x="50" y="55"/>
                  </a:cubicBezTo>
                  <a:cubicBezTo>
                    <a:pt x="49" y="55"/>
                    <a:pt x="49" y="55"/>
                    <a:pt x="49" y="55"/>
                  </a:cubicBezTo>
                  <a:cubicBezTo>
                    <a:pt x="49" y="8"/>
                    <a:pt x="49" y="8"/>
                    <a:pt x="49" y="8"/>
                  </a:cubicBezTo>
                  <a:cubicBezTo>
                    <a:pt x="0" y="8"/>
                    <a:pt x="0" y="8"/>
                    <a:pt x="0" y="8"/>
                  </a:cubicBezTo>
                  <a:lnTo>
                    <a:pt x="0" y="33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39"/>
            <p:cNvSpPr>
              <a:spLocks/>
            </p:cNvSpPr>
            <p:nvPr userDrawn="1"/>
          </p:nvSpPr>
          <p:spPr bwMode="auto">
            <a:xfrm>
              <a:off x="5146" y="757"/>
              <a:ext cx="67" cy="82"/>
            </a:xfrm>
            <a:custGeom>
              <a:avLst/>
              <a:gdLst>
                <a:gd name="T0" fmla="*/ 0 w 275"/>
                <a:gd name="T1" fmla="*/ 230 h 340"/>
                <a:gd name="T2" fmla="*/ 137 w 275"/>
                <a:gd name="T3" fmla="*/ 340 h 340"/>
                <a:gd name="T4" fmla="*/ 275 w 275"/>
                <a:gd name="T5" fmla="*/ 238 h 340"/>
                <a:gd name="T6" fmla="*/ 169 w 275"/>
                <a:gd name="T7" fmla="*/ 145 h 340"/>
                <a:gd name="T8" fmla="*/ 63 w 275"/>
                <a:gd name="T9" fmla="*/ 89 h 340"/>
                <a:gd name="T10" fmla="*/ 132 w 275"/>
                <a:gd name="T11" fmla="*/ 47 h 340"/>
                <a:gd name="T12" fmla="*/ 208 w 275"/>
                <a:gd name="T13" fmla="*/ 102 h 340"/>
                <a:gd name="T14" fmla="*/ 259 w 275"/>
                <a:gd name="T15" fmla="*/ 102 h 340"/>
                <a:gd name="T16" fmla="*/ 128 w 275"/>
                <a:gd name="T17" fmla="*/ 0 h 340"/>
                <a:gd name="T18" fmla="*/ 8 w 275"/>
                <a:gd name="T19" fmla="*/ 92 h 340"/>
                <a:gd name="T20" fmla="*/ 113 w 275"/>
                <a:gd name="T21" fmla="*/ 184 h 340"/>
                <a:gd name="T22" fmla="*/ 220 w 275"/>
                <a:gd name="T23" fmla="*/ 244 h 340"/>
                <a:gd name="T24" fmla="*/ 140 w 275"/>
                <a:gd name="T25" fmla="*/ 293 h 340"/>
                <a:gd name="T26" fmla="*/ 51 w 275"/>
                <a:gd name="T27" fmla="*/ 230 h 340"/>
                <a:gd name="T28" fmla="*/ 0 w 275"/>
                <a:gd name="T29"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340">
                  <a:moveTo>
                    <a:pt x="0" y="230"/>
                  </a:moveTo>
                  <a:cubicBezTo>
                    <a:pt x="3" y="310"/>
                    <a:pt x="63" y="340"/>
                    <a:pt x="137" y="340"/>
                  </a:cubicBezTo>
                  <a:cubicBezTo>
                    <a:pt x="204" y="340"/>
                    <a:pt x="275" y="315"/>
                    <a:pt x="275" y="238"/>
                  </a:cubicBezTo>
                  <a:cubicBezTo>
                    <a:pt x="275" y="175"/>
                    <a:pt x="224" y="157"/>
                    <a:pt x="169" y="145"/>
                  </a:cubicBezTo>
                  <a:cubicBezTo>
                    <a:pt x="120" y="133"/>
                    <a:pt x="63" y="127"/>
                    <a:pt x="63" y="89"/>
                  </a:cubicBezTo>
                  <a:cubicBezTo>
                    <a:pt x="63" y="56"/>
                    <a:pt x="100" y="47"/>
                    <a:pt x="132" y="47"/>
                  </a:cubicBezTo>
                  <a:cubicBezTo>
                    <a:pt x="168" y="47"/>
                    <a:pt x="204" y="60"/>
                    <a:pt x="208" y="102"/>
                  </a:cubicBezTo>
                  <a:cubicBezTo>
                    <a:pt x="259" y="102"/>
                    <a:pt x="259" y="102"/>
                    <a:pt x="259" y="102"/>
                  </a:cubicBezTo>
                  <a:cubicBezTo>
                    <a:pt x="255" y="23"/>
                    <a:pt x="200" y="0"/>
                    <a:pt x="128" y="0"/>
                  </a:cubicBezTo>
                  <a:cubicBezTo>
                    <a:pt x="71" y="0"/>
                    <a:pt x="8" y="27"/>
                    <a:pt x="8" y="92"/>
                  </a:cubicBezTo>
                  <a:cubicBezTo>
                    <a:pt x="8" y="155"/>
                    <a:pt x="60" y="172"/>
                    <a:pt x="113" y="184"/>
                  </a:cubicBezTo>
                  <a:cubicBezTo>
                    <a:pt x="166" y="196"/>
                    <a:pt x="220" y="203"/>
                    <a:pt x="220" y="244"/>
                  </a:cubicBezTo>
                  <a:cubicBezTo>
                    <a:pt x="220" y="285"/>
                    <a:pt x="174" y="293"/>
                    <a:pt x="140" y="293"/>
                  </a:cubicBezTo>
                  <a:cubicBezTo>
                    <a:pt x="95" y="293"/>
                    <a:pt x="53" y="278"/>
                    <a:pt x="51" y="230"/>
                  </a:cubicBezTo>
                  <a:lnTo>
                    <a:pt x="0"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Rectangle 40"/>
            <p:cNvSpPr>
              <a:spLocks noChangeArrowheads="1"/>
            </p:cNvSpPr>
            <p:nvPr userDrawn="1"/>
          </p:nvSpPr>
          <p:spPr bwMode="auto">
            <a:xfrm>
              <a:off x="4430" y="293"/>
              <a:ext cx="14" cy="544"/>
            </a:xfrm>
            <a:prstGeom prst="rect">
              <a:avLst/>
            </a:prstGeom>
            <a:solidFill>
              <a:srgbClr val="008A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1"/>
            <p:cNvSpPr>
              <a:spLocks noEditPoints="1"/>
            </p:cNvSpPr>
            <p:nvPr userDrawn="1"/>
          </p:nvSpPr>
          <p:spPr bwMode="auto">
            <a:xfrm>
              <a:off x="4493" y="293"/>
              <a:ext cx="228" cy="228"/>
            </a:xfrm>
            <a:custGeom>
              <a:avLst/>
              <a:gdLst>
                <a:gd name="T0" fmla="*/ 474 w 948"/>
                <a:gd name="T1" fmla="*/ 892 h 948"/>
                <a:gd name="T2" fmla="*/ 892 w 948"/>
                <a:gd name="T3" fmla="*/ 474 h 948"/>
                <a:gd name="T4" fmla="*/ 474 w 948"/>
                <a:gd name="T5" fmla="*/ 55 h 948"/>
                <a:gd name="T6" fmla="*/ 56 w 948"/>
                <a:gd name="T7" fmla="*/ 474 h 948"/>
                <a:gd name="T8" fmla="*/ 474 w 948"/>
                <a:gd name="T9" fmla="*/ 892 h 948"/>
                <a:gd name="T10" fmla="*/ 474 w 948"/>
                <a:gd name="T11" fmla="*/ 0 h 948"/>
                <a:gd name="T12" fmla="*/ 948 w 948"/>
                <a:gd name="T13" fmla="*/ 474 h 948"/>
                <a:gd name="T14" fmla="*/ 474 w 948"/>
                <a:gd name="T15" fmla="*/ 948 h 948"/>
                <a:gd name="T16" fmla="*/ 0 w 948"/>
                <a:gd name="T17" fmla="*/ 474 h 948"/>
                <a:gd name="T18" fmla="*/ 474 w 948"/>
                <a:gd name="T1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8" h="948">
                  <a:moveTo>
                    <a:pt x="474" y="892"/>
                  </a:moveTo>
                  <a:cubicBezTo>
                    <a:pt x="705" y="892"/>
                    <a:pt x="892" y="705"/>
                    <a:pt x="892" y="474"/>
                  </a:cubicBezTo>
                  <a:cubicBezTo>
                    <a:pt x="892" y="243"/>
                    <a:pt x="705" y="55"/>
                    <a:pt x="474" y="55"/>
                  </a:cubicBezTo>
                  <a:cubicBezTo>
                    <a:pt x="243" y="55"/>
                    <a:pt x="56" y="243"/>
                    <a:pt x="56" y="474"/>
                  </a:cubicBezTo>
                  <a:cubicBezTo>
                    <a:pt x="56" y="705"/>
                    <a:pt x="243" y="892"/>
                    <a:pt x="474" y="892"/>
                  </a:cubicBezTo>
                  <a:close/>
                  <a:moveTo>
                    <a:pt x="474" y="0"/>
                  </a:moveTo>
                  <a:cubicBezTo>
                    <a:pt x="735" y="0"/>
                    <a:pt x="948" y="213"/>
                    <a:pt x="948" y="474"/>
                  </a:cubicBezTo>
                  <a:cubicBezTo>
                    <a:pt x="948" y="735"/>
                    <a:pt x="735" y="948"/>
                    <a:pt x="474" y="948"/>
                  </a:cubicBezTo>
                  <a:cubicBezTo>
                    <a:pt x="213" y="948"/>
                    <a:pt x="0" y="735"/>
                    <a:pt x="0" y="474"/>
                  </a:cubicBezTo>
                  <a:cubicBezTo>
                    <a:pt x="0" y="213"/>
                    <a:pt x="213" y="0"/>
                    <a:pt x="47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Oval 42"/>
            <p:cNvSpPr>
              <a:spLocks noChangeArrowheads="1"/>
            </p:cNvSpPr>
            <p:nvPr userDrawn="1"/>
          </p:nvSpPr>
          <p:spPr bwMode="auto">
            <a:xfrm>
              <a:off x="4597" y="352"/>
              <a:ext cx="18" cy="1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43"/>
            <p:cNvSpPr>
              <a:spLocks noEditPoints="1"/>
            </p:cNvSpPr>
            <p:nvPr userDrawn="1"/>
          </p:nvSpPr>
          <p:spPr bwMode="auto">
            <a:xfrm>
              <a:off x="4539" y="403"/>
              <a:ext cx="134" cy="60"/>
            </a:xfrm>
            <a:custGeom>
              <a:avLst/>
              <a:gdLst>
                <a:gd name="T0" fmla="*/ 432 w 553"/>
                <a:gd name="T1" fmla="*/ 216 h 248"/>
                <a:gd name="T2" fmla="*/ 433 w 553"/>
                <a:gd name="T3" fmla="*/ 188 h 248"/>
                <a:gd name="T4" fmla="*/ 367 w 553"/>
                <a:gd name="T5" fmla="*/ 203 h 248"/>
                <a:gd name="T6" fmla="*/ 120 w 553"/>
                <a:gd name="T7" fmla="*/ 188 h 248"/>
                <a:gd name="T8" fmla="*/ 122 w 553"/>
                <a:gd name="T9" fmla="*/ 216 h 248"/>
                <a:gd name="T10" fmla="*/ 186 w 553"/>
                <a:gd name="T11" fmla="*/ 195 h 248"/>
                <a:gd name="T12" fmla="*/ 254 w 553"/>
                <a:gd name="T13" fmla="*/ 194 h 248"/>
                <a:gd name="T14" fmla="*/ 279 w 553"/>
                <a:gd name="T15" fmla="*/ 219 h 248"/>
                <a:gd name="T16" fmla="*/ 279 w 553"/>
                <a:gd name="T17" fmla="*/ 174 h 248"/>
                <a:gd name="T18" fmla="*/ 538 w 553"/>
                <a:gd name="T19" fmla="*/ 187 h 248"/>
                <a:gd name="T20" fmla="*/ 511 w 553"/>
                <a:gd name="T21" fmla="*/ 210 h 248"/>
                <a:gd name="T22" fmla="*/ 531 w 553"/>
                <a:gd name="T23" fmla="*/ 241 h 248"/>
                <a:gd name="T24" fmla="*/ 23 w 553"/>
                <a:gd name="T25" fmla="*/ 241 h 248"/>
                <a:gd name="T26" fmla="*/ 40 w 553"/>
                <a:gd name="T27" fmla="*/ 213 h 248"/>
                <a:gd name="T28" fmla="*/ 15 w 553"/>
                <a:gd name="T29" fmla="*/ 189 h 248"/>
                <a:gd name="T30" fmla="*/ 2 w 553"/>
                <a:gd name="T31" fmla="*/ 74 h 248"/>
                <a:gd name="T32" fmla="*/ 52 w 553"/>
                <a:gd name="T33" fmla="*/ 67 h 248"/>
                <a:gd name="T34" fmla="*/ 22 w 553"/>
                <a:gd name="T35" fmla="*/ 115 h 248"/>
                <a:gd name="T36" fmla="*/ 64 w 553"/>
                <a:gd name="T37" fmla="*/ 75 h 248"/>
                <a:gd name="T38" fmla="*/ 75 w 553"/>
                <a:gd name="T39" fmla="*/ 160 h 248"/>
                <a:gd name="T40" fmla="*/ 24 w 553"/>
                <a:gd name="T41" fmla="*/ 132 h 248"/>
                <a:gd name="T42" fmla="*/ 106 w 553"/>
                <a:gd name="T43" fmla="*/ 168 h 248"/>
                <a:gd name="T44" fmla="*/ 115 w 553"/>
                <a:gd name="T45" fmla="*/ 120 h 248"/>
                <a:gd name="T46" fmla="*/ 94 w 553"/>
                <a:gd name="T47" fmla="*/ 139 h 248"/>
                <a:gd name="T48" fmla="*/ 118 w 553"/>
                <a:gd name="T49" fmla="*/ 55 h 248"/>
                <a:gd name="T50" fmla="*/ 152 w 553"/>
                <a:gd name="T51" fmla="*/ 108 h 248"/>
                <a:gd name="T52" fmla="*/ 177 w 553"/>
                <a:gd name="T53" fmla="*/ 146 h 248"/>
                <a:gd name="T54" fmla="*/ 157 w 553"/>
                <a:gd name="T55" fmla="*/ 130 h 248"/>
                <a:gd name="T56" fmla="*/ 189 w 553"/>
                <a:gd name="T57" fmla="*/ 163 h 248"/>
                <a:gd name="T58" fmla="*/ 234 w 553"/>
                <a:gd name="T59" fmla="*/ 161 h 248"/>
                <a:gd name="T60" fmla="*/ 225 w 553"/>
                <a:gd name="T61" fmla="*/ 152 h 248"/>
                <a:gd name="T62" fmla="*/ 221 w 553"/>
                <a:gd name="T63" fmla="*/ 71 h 248"/>
                <a:gd name="T64" fmla="*/ 228 w 553"/>
                <a:gd name="T65" fmla="*/ 71 h 248"/>
                <a:gd name="T66" fmla="*/ 234 w 553"/>
                <a:gd name="T67" fmla="*/ 61 h 248"/>
                <a:gd name="T68" fmla="*/ 231 w 553"/>
                <a:gd name="T69" fmla="*/ 58 h 248"/>
                <a:gd name="T70" fmla="*/ 319 w 553"/>
                <a:gd name="T71" fmla="*/ 55 h 248"/>
                <a:gd name="T72" fmla="*/ 323 w 553"/>
                <a:gd name="T73" fmla="*/ 58 h 248"/>
                <a:gd name="T74" fmla="*/ 287 w 553"/>
                <a:gd name="T75" fmla="*/ 101 h 248"/>
                <a:gd name="T76" fmla="*/ 333 w 553"/>
                <a:gd name="T77" fmla="*/ 71 h 248"/>
                <a:gd name="T78" fmla="*/ 333 w 553"/>
                <a:gd name="T79" fmla="*/ 149 h 248"/>
                <a:gd name="T80" fmla="*/ 287 w 553"/>
                <a:gd name="T81" fmla="*/ 120 h 248"/>
                <a:gd name="T82" fmla="*/ 321 w 553"/>
                <a:gd name="T83" fmla="*/ 162 h 248"/>
                <a:gd name="T84" fmla="*/ 397 w 553"/>
                <a:gd name="T85" fmla="*/ 138 h 248"/>
                <a:gd name="T86" fmla="*/ 372 w 553"/>
                <a:gd name="T87" fmla="*/ 136 h 248"/>
                <a:gd name="T88" fmla="*/ 369 w 553"/>
                <a:gd name="T89" fmla="*/ 89 h 248"/>
                <a:gd name="T90" fmla="*/ 417 w 553"/>
                <a:gd name="T91" fmla="*/ 0 h 248"/>
                <a:gd name="T92" fmla="*/ 453 w 553"/>
                <a:gd name="T93" fmla="*/ 94 h 248"/>
                <a:gd name="T94" fmla="*/ 444 w 553"/>
                <a:gd name="T95" fmla="*/ 140 h 248"/>
                <a:gd name="T96" fmla="*/ 419 w 553"/>
                <a:gd name="T97" fmla="*/ 141 h 248"/>
                <a:gd name="T98" fmla="*/ 492 w 553"/>
                <a:gd name="T99" fmla="*/ 172 h 248"/>
                <a:gd name="T100" fmla="*/ 481 w 553"/>
                <a:gd name="T101" fmla="*/ 163 h 248"/>
                <a:gd name="T102" fmla="*/ 489 w 553"/>
                <a:gd name="T103" fmla="*/ 76 h 248"/>
                <a:gd name="T104" fmla="*/ 495 w 553"/>
                <a:gd name="T105" fmla="*/ 76 h 248"/>
                <a:gd name="T106" fmla="*/ 503 w 553"/>
                <a:gd name="T107" fmla="*/ 71 h 248"/>
                <a:gd name="T108" fmla="*/ 543 w 553"/>
                <a:gd name="T109" fmla="*/ 6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3" h="248">
                  <a:moveTo>
                    <a:pt x="367" y="203"/>
                  </a:moveTo>
                  <a:cubicBezTo>
                    <a:pt x="366" y="208"/>
                    <a:pt x="371" y="213"/>
                    <a:pt x="376" y="213"/>
                  </a:cubicBezTo>
                  <a:cubicBezTo>
                    <a:pt x="432" y="216"/>
                    <a:pt x="432" y="216"/>
                    <a:pt x="432" y="216"/>
                  </a:cubicBezTo>
                  <a:cubicBezTo>
                    <a:pt x="437" y="217"/>
                    <a:pt x="442" y="212"/>
                    <a:pt x="442" y="207"/>
                  </a:cubicBezTo>
                  <a:cubicBezTo>
                    <a:pt x="443" y="199"/>
                    <a:pt x="443" y="199"/>
                    <a:pt x="443" y="199"/>
                  </a:cubicBezTo>
                  <a:cubicBezTo>
                    <a:pt x="443" y="193"/>
                    <a:pt x="439" y="188"/>
                    <a:pt x="433" y="188"/>
                  </a:cubicBezTo>
                  <a:cubicBezTo>
                    <a:pt x="378" y="185"/>
                    <a:pt x="378" y="185"/>
                    <a:pt x="378" y="185"/>
                  </a:cubicBezTo>
                  <a:cubicBezTo>
                    <a:pt x="372" y="185"/>
                    <a:pt x="367" y="189"/>
                    <a:pt x="367" y="195"/>
                  </a:cubicBezTo>
                  <a:lnTo>
                    <a:pt x="367" y="203"/>
                  </a:lnTo>
                  <a:close/>
                  <a:moveTo>
                    <a:pt x="186" y="195"/>
                  </a:moveTo>
                  <a:cubicBezTo>
                    <a:pt x="186" y="189"/>
                    <a:pt x="181" y="185"/>
                    <a:pt x="176" y="185"/>
                  </a:cubicBezTo>
                  <a:cubicBezTo>
                    <a:pt x="120" y="188"/>
                    <a:pt x="120" y="188"/>
                    <a:pt x="120" y="188"/>
                  </a:cubicBezTo>
                  <a:cubicBezTo>
                    <a:pt x="114" y="188"/>
                    <a:pt x="110" y="193"/>
                    <a:pt x="110" y="199"/>
                  </a:cubicBezTo>
                  <a:cubicBezTo>
                    <a:pt x="111" y="207"/>
                    <a:pt x="111" y="207"/>
                    <a:pt x="111" y="207"/>
                  </a:cubicBezTo>
                  <a:cubicBezTo>
                    <a:pt x="111" y="212"/>
                    <a:pt x="116" y="217"/>
                    <a:pt x="122" y="216"/>
                  </a:cubicBezTo>
                  <a:cubicBezTo>
                    <a:pt x="177" y="213"/>
                    <a:pt x="177" y="213"/>
                    <a:pt x="177" y="213"/>
                  </a:cubicBezTo>
                  <a:cubicBezTo>
                    <a:pt x="183" y="213"/>
                    <a:pt x="187" y="208"/>
                    <a:pt x="187" y="203"/>
                  </a:cubicBezTo>
                  <a:lnTo>
                    <a:pt x="186" y="195"/>
                  </a:lnTo>
                  <a:close/>
                  <a:moveTo>
                    <a:pt x="279" y="174"/>
                  </a:moveTo>
                  <a:cubicBezTo>
                    <a:pt x="278" y="173"/>
                    <a:pt x="275" y="173"/>
                    <a:pt x="274" y="174"/>
                  </a:cubicBezTo>
                  <a:cubicBezTo>
                    <a:pt x="254" y="194"/>
                    <a:pt x="254" y="194"/>
                    <a:pt x="254" y="194"/>
                  </a:cubicBezTo>
                  <a:cubicBezTo>
                    <a:pt x="252" y="195"/>
                    <a:pt x="252" y="198"/>
                    <a:pt x="254" y="199"/>
                  </a:cubicBezTo>
                  <a:cubicBezTo>
                    <a:pt x="274" y="219"/>
                    <a:pt x="274" y="219"/>
                    <a:pt x="274" y="219"/>
                  </a:cubicBezTo>
                  <a:cubicBezTo>
                    <a:pt x="275" y="221"/>
                    <a:pt x="278" y="221"/>
                    <a:pt x="279" y="219"/>
                  </a:cubicBezTo>
                  <a:cubicBezTo>
                    <a:pt x="299" y="199"/>
                    <a:pt x="299" y="199"/>
                    <a:pt x="299" y="199"/>
                  </a:cubicBezTo>
                  <a:cubicBezTo>
                    <a:pt x="301" y="198"/>
                    <a:pt x="301" y="195"/>
                    <a:pt x="299" y="194"/>
                  </a:cubicBezTo>
                  <a:lnTo>
                    <a:pt x="279" y="174"/>
                  </a:lnTo>
                  <a:close/>
                  <a:moveTo>
                    <a:pt x="552" y="84"/>
                  </a:moveTo>
                  <a:cubicBezTo>
                    <a:pt x="551" y="90"/>
                    <a:pt x="539" y="178"/>
                    <a:pt x="539" y="179"/>
                  </a:cubicBezTo>
                  <a:cubicBezTo>
                    <a:pt x="538" y="187"/>
                    <a:pt x="538" y="187"/>
                    <a:pt x="538" y="187"/>
                  </a:cubicBezTo>
                  <a:cubicBezTo>
                    <a:pt x="538" y="187"/>
                    <a:pt x="537" y="191"/>
                    <a:pt x="533" y="194"/>
                  </a:cubicBezTo>
                  <a:cubicBezTo>
                    <a:pt x="530" y="196"/>
                    <a:pt x="513" y="207"/>
                    <a:pt x="513" y="207"/>
                  </a:cubicBezTo>
                  <a:cubicBezTo>
                    <a:pt x="513" y="207"/>
                    <a:pt x="511" y="209"/>
                    <a:pt x="511" y="210"/>
                  </a:cubicBezTo>
                  <a:cubicBezTo>
                    <a:pt x="511" y="212"/>
                    <a:pt x="512" y="214"/>
                    <a:pt x="512" y="214"/>
                  </a:cubicBezTo>
                  <a:cubicBezTo>
                    <a:pt x="528" y="235"/>
                    <a:pt x="528" y="235"/>
                    <a:pt x="528" y="235"/>
                  </a:cubicBezTo>
                  <a:cubicBezTo>
                    <a:pt x="530" y="237"/>
                    <a:pt x="531" y="239"/>
                    <a:pt x="531" y="241"/>
                  </a:cubicBezTo>
                  <a:cubicBezTo>
                    <a:pt x="531" y="244"/>
                    <a:pt x="530" y="247"/>
                    <a:pt x="527" y="248"/>
                  </a:cubicBezTo>
                  <a:cubicBezTo>
                    <a:pt x="26" y="248"/>
                    <a:pt x="26" y="248"/>
                    <a:pt x="26" y="248"/>
                  </a:cubicBezTo>
                  <a:cubicBezTo>
                    <a:pt x="24" y="246"/>
                    <a:pt x="23" y="244"/>
                    <a:pt x="23" y="241"/>
                  </a:cubicBezTo>
                  <a:cubicBezTo>
                    <a:pt x="23" y="240"/>
                    <a:pt x="23" y="239"/>
                    <a:pt x="23" y="238"/>
                  </a:cubicBezTo>
                  <a:cubicBezTo>
                    <a:pt x="23" y="238"/>
                    <a:pt x="24" y="237"/>
                    <a:pt x="25" y="236"/>
                  </a:cubicBezTo>
                  <a:cubicBezTo>
                    <a:pt x="40" y="213"/>
                    <a:pt x="40" y="213"/>
                    <a:pt x="40" y="213"/>
                  </a:cubicBezTo>
                  <a:cubicBezTo>
                    <a:pt x="40" y="213"/>
                    <a:pt x="42" y="210"/>
                    <a:pt x="39" y="207"/>
                  </a:cubicBezTo>
                  <a:cubicBezTo>
                    <a:pt x="36" y="205"/>
                    <a:pt x="19" y="194"/>
                    <a:pt x="19" y="194"/>
                  </a:cubicBezTo>
                  <a:cubicBezTo>
                    <a:pt x="19" y="194"/>
                    <a:pt x="16" y="191"/>
                    <a:pt x="15" y="189"/>
                  </a:cubicBezTo>
                  <a:cubicBezTo>
                    <a:pt x="14" y="178"/>
                    <a:pt x="14" y="178"/>
                    <a:pt x="14" y="178"/>
                  </a:cubicBezTo>
                  <a:cubicBezTo>
                    <a:pt x="13" y="171"/>
                    <a:pt x="2" y="90"/>
                    <a:pt x="1" y="84"/>
                  </a:cubicBezTo>
                  <a:cubicBezTo>
                    <a:pt x="0" y="80"/>
                    <a:pt x="0" y="76"/>
                    <a:pt x="2" y="74"/>
                  </a:cubicBezTo>
                  <a:cubicBezTo>
                    <a:pt x="4" y="71"/>
                    <a:pt x="7" y="70"/>
                    <a:pt x="10" y="69"/>
                  </a:cubicBezTo>
                  <a:cubicBezTo>
                    <a:pt x="12" y="69"/>
                    <a:pt x="45" y="64"/>
                    <a:pt x="49" y="64"/>
                  </a:cubicBezTo>
                  <a:cubicBezTo>
                    <a:pt x="50" y="64"/>
                    <a:pt x="51" y="65"/>
                    <a:pt x="52" y="67"/>
                  </a:cubicBezTo>
                  <a:cubicBezTo>
                    <a:pt x="52" y="69"/>
                    <a:pt x="51" y="70"/>
                    <a:pt x="50" y="71"/>
                  </a:cubicBezTo>
                  <a:cubicBezTo>
                    <a:pt x="50" y="70"/>
                    <a:pt x="50" y="70"/>
                    <a:pt x="50" y="70"/>
                  </a:cubicBezTo>
                  <a:cubicBezTo>
                    <a:pt x="32" y="79"/>
                    <a:pt x="22" y="95"/>
                    <a:pt x="22" y="115"/>
                  </a:cubicBezTo>
                  <a:cubicBezTo>
                    <a:pt x="49" y="110"/>
                    <a:pt x="56" y="96"/>
                    <a:pt x="58" y="76"/>
                  </a:cubicBezTo>
                  <a:cubicBezTo>
                    <a:pt x="58" y="75"/>
                    <a:pt x="59" y="74"/>
                    <a:pt x="61" y="74"/>
                  </a:cubicBezTo>
                  <a:cubicBezTo>
                    <a:pt x="63" y="73"/>
                    <a:pt x="64" y="74"/>
                    <a:pt x="64" y="75"/>
                  </a:cubicBezTo>
                  <a:cubicBezTo>
                    <a:pt x="64" y="76"/>
                    <a:pt x="64" y="76"/>
                    <a:pt x="64" y="76"/>
                  </a:cubicBezTo>
                  <a:cubicBezTo>
                    <a:pt x="75" y="160"/>
                    <a:pt x="75" y="160"/>
                    <a:pt x="75" y="160"/>
                  </a:cubicBezTo>
                  <a:cubicBezTo>
                    <a:pt x="75" y="160"/>
                    <a:pt x="75" y="160"/>
                    <a:pt x="75" y="160"/>
                  </a:cubicBezTo>
                  <a:cubicBezTo>
                    <a:pt x="75" y="161"/>
                    <a:pt x="74" y="163"/>
                    <a:pt x="72" y="163"/>
                  </a:cubicBezTo>
                  <a:cubicBezTo>
                    <a:pt x="70" y="163"/>
                    <a:pt x="69" y="162"/>
                    <a:pt x="68" y="161"/>
                  </a:cubicBezTo>
                  <a:cubicBezTo>
                    <a:pt x="60" y="143"/>
                    <a:pt x="44" y="133"/>
                    <a:pt x="24" y="132"/>
                  </a:cubicBezTo>
                  <a:cubicBezTo>
                    <a:pt x="29" y="152"/>
                    <a:pt x="44" y="167"/>
                    <a:pt x="63" y="172"/>
                  </a:cubicBezTo>
                  <a:cubicBezTo>
                    <a:pt x="63" y="173"/>
                    <a:pt x="63" y="173"/>
                    <a:pt x="63" y="173"/>
                  </a:cubicBezTo>
                  <a:cubicBezTo>
                    <a:pt x="77" y="171"/>
                    <a:pt x="92" y="170"/>
                    <a:pt x="106" y="168"/>
                  </a:cubicBezTo>
                  <a:cubicBezTo>
                    <a:pt x="120" y="164"/>
                    <a:pt x="131" y="157"/>
                    <a:pt x="134" y="139"/>
                  </a:cubicBezTo>
                  <a:cubicBezTo>
                    <a:pt x="134" y="137"/>
                    <a:pt x="134" y="135"/>
                    <a:pt x="133" y="133"/>
                  </a:cubicBezTo>
                  <a:cubicBezTo>
                    <a:pt x="129" y="123"/>
                    <a:pt x="122" y="117"/>
                    <a:pt x="115" y="120"/>
                  </a:cubicBezTo>
                  <a:cubicBezTo>
                    <a:pt x="107" y="123"/>
                    <a:pt x="106" y="132"/>
                    <a:pt x="109" y="141"/>
                  </a:cubicBezTo>
                  <a:cubicBezTo>
                    <a:pt x="111" y="145"/>
                    <a:pt x="113" y="148"/>
                    <a:pt x="116" y="151"/>
                  </a:cubicBezTo>
                  <a:cubicBezTo>
                    <a:pt x="107" y="151"/>
                    <a:pt x="100" y="148"/>
                    <a:pt x="94" y="139"/>
                  </a:cubicBezTo>
                  <a:cubicBezTo>
                    <a:pt x="84" y="125"/>
                    <a:pt x="85" y="104"/>
                    <a:pt x="101" y="95"/>
                  </a:cubicBezTo>
                  <a:cubicBezTo>
                    <a:pt x="111" y="89"/>
                    <a:pt x="124" y="96"/>
                    <a:pt x="135" y="109"/>
                  </a:cubicBezTo>
                  <a:cubicBezTo>
                    <a:pt x="132" y="89"/>
                    <a:pt x="119" y="70"/>
                    <a:pt x="118" y="55"/>
                  </a:cubicBezTo>
                  <a:cubicBezTo>
                    <a:pt x="116" y="32"/>
                    <a:pt x="124" y="7"/>
                    <a:pt x="137" y="0"/>
                  </a:cubicBezTo>
                  <a:cubicBezTo>
                    <a:pt x="149" y="5"/>
                    <a:pt x="161" y="28"/>
                    <a:pt x="162" y="51"/>
                  </a:cubicBezTo>
                  <a:cubicBezTo>
                    <a:pt x="163" y="66"/>
                    <a:pt x="152" y="87"/>
                    <a:pt x="152" y="108"/>
                  </a:cubicBezTo>
                  <a:cubicBezTo>
                    <a:pt x="160" y="93"/>
                    <a:pt x="173" y="85"/>
                    <a:pt x="184" y="89"/>
                  </a:cubicBezTo>
                  <a:cubicBezTo>
                    <a:pt x="200" y="96"/>
                    <a:pt x="205" y="117"/>
                    <a:pt x="197" y="132"/>
                  </a:cubicBezTo>
                  <a:cubicBezTo>
                    <a:pt x="192" y="141"/>
                    <a:pt x="185" y="145"/>
                    <a:pt x="177" y="146"/>
                  </a:cubicBezTo>
                  <a:cubicBezTo>
                    <a:pt x="179" y="143"/>
                    <a:pt x="181" y="140"/>
                    <a:pt x="182" y="136"/>
                  </a:cubicBezTo>
                  <a:cubicBezTo>
                    <a:pt x="184" y="126"/>
                    <a:pt x="182" y="117"/>
                    <a:pt x="173" y="115"/>
                  </a:cubicBezTo>
                  <a:cubicBezTo>
                    <a:pt x="165" y="113"/>
                    <a:pt x="159" y="120"/>
                    <a:pt x="157" y="130"/>
                  </a:cubicBezTo>
                  <a:cubicBezTo>
                    <a:pt x="157" y="134"/>
                    <a:pt x="157" y="137"/>
                    <a:pt x="157" y="140"/>
                  </a:cubicBezTo>
                  <a:cubicBezTo>
                    <a:pt x="157" y="140"/>
                    <a:pt x="157" y="140"/>
                    <a:pt x="157" y="140"/>
                  </a:cubicBezTo>
                  <a:cubicBezTo>
                    <a:pt x="163" y="155"/>
                    <a:pt x="175" y="160"/>
                    <a:pt x="189" y="163"/>
                  </a:cubicBezTo>
                  <a:cubicBezTo>
                    <a:pt x="203" y="163"/>
                    <a:pt x="218" y="162"/>
                    <a:pt x="233" y="162"/>
                  </a:cubicBezTo>
                  <a:cubicBezTo>
                    <a:pt x="233" y="162"/>
                    <a:pt x="233" y="162"/>
                    <a:pt x="233" y="162"/>
                  </a:cubicBezTo>
                  <a:cubicBezTo>
                    <a:pt x="234" y="161"/>
                    <a:pt x="234" y="161"/>
                    <a:pt x="234" y="161"/>
                  </a:cubicBezTo>
                  <a:cubicBezTo>
                    <a:pt x="255" y="158"/>
                    <a:pt x="265" y="145"/>
                    <a:pt x="268" y="120"/>
                  </a:cubicBezTo>
                  <a:cubicBezTo>
                    <a:pt x="249" y="123"/>
                    <a:pt x="235" y="134"/>
                    <a:pt x="229" y="150"/>
                  </a:cubicBezTo>
                  <a:cubicBezTo>
                    <a:pt x="228" y="151"/>
                    <a:pt x="227" y="152"/>
                    <a:pt x="225" y="152"/>
                  </a:cubicBezTo>
                  <a:cubicBezTo>
                    <a:pt x="222" y="152"/>
                    <a:pt x="221" y="150"/>
                    <a:pt x="221" y="149"/>
                  </a:cubicBezTo>
                  <a:cubicBezTo>
                    <a:pt x="221" y="71"/>
                    <a:pt x="221" y="71"/>
                    <a:pt x="221" y="71"/>
                  </a:cubicBezTo>
                  <a:cubicBezTo>
                    <a:pt x="221" y="71"/>
                    <a:pt x="221" y="71"/>
                    <a:pt x="221" y="71"/>
                  </a:cubicBezTo>
                  <a:cubicBezTo>
                    <a:pt x="221" y="70"/>
                    <a:pt x="223" y="69"/>
                    <a:pt x="225" y="69"/>
                  </a:cubicBezTo>
                  <a:cubicBezTo>
                    <a:pt x="227" y="69"/>
                    <a:pt x="228" y="70"/>
                    <a:pt x="228" y="71"/>
                  </a:cubicBezTo>
                  <a:cubicBezTo>
                    <a:pt x="228" y="71"/>
                    <a:pt x="228" y="71"/>
                    <a:pt x="228" y="71"/>
                  </a:cubicBezTo>
                  <a:cubicBezTo>
                    <a:pt x="228" y="71"/>
                    <a:pt x="228" y="71"/>
                    <a:pt x="228" y="71"/>
                  </a:cubicBezTo>
                  <a:cubicBezTo>
                    <a:pt x="232" y="86"/>
                    <a:pt x="239" y="99"/>
                    <a:pt x="268" y="101"/>
                  </a:cubicBezTo>
                  <a:cubicBezTo>
                    <a:pt x="265" y="74"/>
                    <a:pt x="253" y="65"/>
                    <a:pt x="234" y="61"/>
                  </a:cubicBezTo>
                  <a:cubicBezTo>
                    <a:pt x="234" y="61"/>
                    <a:pt x="233" y="61"/>
                    <a:pt x="232" y="60"/>
                  </a:cubicBezTo>
                  <a:cubicBezTo>
                    <a:pt x="232" y="60"/>
                    <a:pt x="231" y="59"/>
                    <a:pt x="231" y="58"/>
                  </a:cubicBezTo>
                  <a:cubicBezTo>
                    <a:pt x="231" y="58"/>
                    <a:pt x="231" y="58"/>
                    <a:pt x="231" y="58"/>
                  </a:cubicBezTo>
                  <a:cubicBezTo>
                    <a:pt x="231" y="57"/>
                    <a:pt x="232" y="56"/>
                    <a:pt x="232" y="56"/>
                  </a:cubicBezTo>
                  <a:cubicBezTo>
                    <a:pt x="233" y="55"/>
                    <a:pt x="234" y="55"/>
                    <a:pt x="235" y="55"/>
                  </a:cubicBezTo>
                  <a:cubicBezTo>
                    <a:pt x="319" y="55"/>
                    <a:pt x="319" y="55"/>
                    <a:pt x="319" y="55"/>
                  </a:cubicBezTo>
                  <a:cubicBezTo>
                    <a:pt x="319" y="55"/>
                    <a:pt x="321" y="55"/>
                    <a:pt x="322" y="56"/>
                  </a:cubicBezTo>
                  <a:cubicBezTo>
                    <a:pt x="322" y="56"/>
                    <a:pt x="323" y="57"/>
                    <a:pt x="323" y="58"/>
                  </a:cubicBezTo>
                  <a:cubicBezTo>
                    <a:pt x="323" y="58"/>
                    <a:pt x="323" y="58"/>
                    <a:pt x="323" y="58"/>
                  </a:cubicBezTo>
                  <a:cubicBezTo>
                    <a:pt x="323" y="59"/>
                    <a:pt x="322" y="60"/>
                    <a:pt x="322" y="60"/>
                  </a:cubicBezTo>
                  <a:cubicBezTo>
                    <a:pt x="321" y="61"/>
                    <a:pt x="320" y="61"/>
                    <a:pt x="320" y="61"/>
                  </a:cubicBezTo>
                  <a:cubicBezTo>
                    <a:pt x="302" y="67"/>
                    <a:pt x="290" y="82"/>
                    <a:pt x="287" y="101"/>
                  </a:cubicBezTo>
                  <a:cubicBezTo>
                    <a:pt x="314" y="99"/>
                    <a:pt x="322" y="85"/>
                    <a:pt x="325" y="71"/>
                  </a:cubicBezTo>
                  <a:cubicBezTo>
                    <a:pt x="326" y="70"/>
                    <a:pt x="327" y="68"/>
                    <a:pt x="329" y="68"/>
                  </a:cubicBezTo>
                  <a:cubicBezTo>
                    <a:pt x="331" y="68"/>
                    <a:pt x="333" y="70"/>
                    <a:pt x="333" y="71"/>
                  </a:cubicBezTo>
                  <a:cubicBezTo>
                    <a:pt x="333" y="72"/>
                    <a:pt x="333" y="72"/>
                    <a:pt x="333" y="72"/>
                  </a:cubicBezTo>
                  <a:cubicBezTo>
                    <a:pt x="333" y="149"/>
                    <a:pt x="333" y="149"/>
                    <a:pt x="333" y="149"/>
                  </a:cubicBezTo>
                  <a:cubicBezTo>
                    <a:pt x="333" y="149"/>
                    <a:pt x="333" y="149"/>
                    <a:pt x="333" y="149"/>
                  </a:cubicBezTo>
                  <a:cubicBezTo>
                    <a:pt x="333" y="150"/>
                    <a:pt x="332" y="152"/>
                    <a:pt x="329" y="152"/>
                  </a:cubicBezTo>
                  <a:cubicBezTo>
                    <a:pt x="326" y="152"/>
                    <a:pt x="325" y="151"/>
                    <a:pt x="325" y="150"/>
                  </a:cubicBezTo>
                  <a:cubicBezTo>
                    <a:pt x="318" y="134"/>
                    <a:pt x="304" y="123"/>
                    <a:pt x="287" y="120"/>
                  </a:cubicBezTo>
                  <a:cubicBezTo>
                    <a:pt x="290" y="141"/>
                    <a:pt x="302" y="157"/>
                    <a:pt x="320" y="161"/>
                  </a:cubicBezTo>
                  <a:cubicBezTo>
                    <a:pt x="321" y="162"/>
                    <a:pt x="321" y="162"/>
                    <a:pt x="321" y="162"/>
                  </a:cubicBezTo>
                  <a:cubicBezTo>
                    <a:pt x="321" y="162"/>
                    <a:pt x="321" y="162"/>
                    <a:pt x="321" y="162"/>
                  </a:cubicBezTo>
                  <a:cubicBezTo>
                    <a:pt x="336" y="162"/>
                    <a:pt x="350" y="162"/>
                    <a:pt x="365" y="163"/>
                  </a:cubicBezTo>
                  <a:cubicBezTo>
                    <a:pt x="380" y="161"/>
                    <a:pt x="391" y="155"/>
                    <a:pt x="397" y="138"/>
                  </a:cubicBezTo>
                  <a:cubicBezTo>
                    <a:pt x="397" y="138"/>
                    <a:pt x="397" y="138"/>
                    <a:pt x="397" y="138"/>
                  </a:cubicBezTo>
                  <a:cubicBezTo>
                    <a:pt x="397" y="135"/>
                    <a:pt x="397" y="133"/>
                    <a:pt x="396" y="131"/>
                  </a:cubicBezTo>
                  <a:cubicBezTo>
                    <a:pt x="394" y="121"/>
                    <a:pt x="388" y="114"/>
                    <a:pt x="380" y="115"/>
                  </a:cubicBezTo>
                  <a:cubicBezTo>
                    <a:pt x="372" y="117"/>
                    <a:pt x="370" y="126"/>
                    <a:pt x="372" y="136"/>
                  </a:cubicBezTo>
                  <a:cubicBezTo>
                    <a:pt x="373" y="140"/>
                    <a:pt x="375" y="144"/>
                    <a:pt x="377" y="147"/>
                  </a:cubicBezTo>
                  <a:cubicBezTo>
                    <a:pt x="369" y="145"/>
                    <a:pt x="362" y="141"/>
                    <a:pt x="357" y="132"/>
                  </a:cubicBezTo>
                  <a:cubicBezTo>
                    <a:pt x="349" y="117"/>
                    <a:pt x="353" y="96"/>
                    <a:pt x="369" y="89"/>
                  </a:cubicBezTo>
                  <a:cubicBezTo>
                    <a:pt x="380" y="85"/>
                    <a:pt x="393" y="93"/>
                    <a:pt x="401" y="108"/>
                  </a:cubicBezTo>
                  <a:cubicBezTo>
                    <a:pt x="401" y="87"/>
                    <a:pt x="391" y="67"/>
                    <a:pt x="391" y="51"/>
                  </a:cubicBezTo>
                  <a:cubicBezTo>
                    <a:pt x="392" y="29"/>
                    <a:pt x="404" y="5"/>
                    <a:pt x="417" y="0"/>
                  </a:cubicBezTo>
                  <a:cubicBezTo>
                    <a:pt x="429" y="6"/>
                    <a:pt x="438" y="31"/>
                    <a:pt x="436" y="53"/>
                  </a:cubicBezTo>
                  <a:cubicBezTo>
                    <a:pt x="435" y="69"/>
                    <a:pt x="421" y="88"/>
                    <a:pt x="418" y="109"/>
                  </a:cubicBezTo>
                  <a:cubicBezTo>
                    <a:pt x="428" y="95"/>
                    <a:pt x="443" y="88"/>
                    <a:pt x="453" y="94"/>
                  </a:cubicBezTo>
                  <a:cubicBezTo>
                    <a:pt x="468" y="103"/>
                    <a:pt x="469" y="124"/>
                    <a:pt x="460" y="138"/>
                  </a:cubicBezTo>
                  <a:cubicBezTo>
                    <a:pt x="454" y="146"/>
                    <a:pt x="447" y="149"/>
                    <a:pt x="438" y="150"/>
                  </a:cubicBezTo>
                  <a:cubicBezTo>
                    <a:pt x="441" y="147"/>
                    <a:pt x="443" y="144"/>
                    <a:pt x="444" y="140"/>
                  </a:cubicBezTo>
                  <a:cubicBezTo>
                    <a:pt x="448" y="130"/>
                    <a:pt x="447" y="121"/>
                    <a:pt x="439" y="118"/>
                  </a:cubicBezTo>
                  <a:cubicBezTo>
                    <a:pt x="431" y="116"/>
                    <a:pt x="424" y="122"/>
                    <a:pt x="421" y="132"/>
                  </a:cubicBezTo>
                  <a:cubicBezTo>
                    <a:pt x="420" y="135"/>
                    <a:pt x="419" y="138"/>
                    <a:pt x="419" y="141"/>
                  </a:cubicBezTo>
                  <a:cubicBezTo>
                    <a:pt x="419" y="141"/>
                    <a:pt x="419" y="141"/>
                    <a:pt x="419" y="141"/>
                  </a:cubicBezTo>
                  <a:cubicBezTo>
                    <a:pt x="424" y="156"/>
                    <a:pt x="434" y="162"/>
                    <a:pt x="447" y="168"/>
                  </a:cubicBezTo>
                  <a:cubicBezTo>
                    <a:pt x="462" y="169"/>
                    <a:pt x="477" y="170"/>
                    <a:pt x="492" y="172"/>
                  </a:cubicBezTo>
                  <a:cubicBezTo>
                    <a:pt x="510" y="166"/>
                    <a:pt x="524" y="151"/>
                    <a:pt x="529" y="132"/>
                  </a:cubicBezTo>
                  <a:cubicBezTo>
                    <a:pt x="510" y="133"/>
                    <a:pt x="493" y="143"/>
                    <a:pt x="485" y="161"/>
                  </a:cubicBezTo>
                  <a:cubicBezTo>
                    <a:pt x="484" y="162"/>
                    <a:pt x="483" y="163"/>
                    <a:pt x="481" y="163"/>
                  </a:cubicBezTo>
                  <a:cubicBezTo>
                    <a:pt x="479" y="163"/>
                    <a:pt x="478" y="161"/>
                    <a:pt x="478" y="160"/>
                  </a:cubicBezTo>
                  <a:cubicBezTo>
                    <a:pt x="478" y="160"/>
                    <a:pt x="478" y="160"/>
                    <a:pt x="478" y="160"/>
                  </a:cubicBezTo>
                  <a:cubicBezTo>
                    <a:pt x="489" y="76"/>
                    <a:pt x="489" y="76"/>
                    <a:pt x="489" y="76"/>
                  </a:cubicBezTo>
                  <a:cubicBezTo>
                    <a:pt x="489" y="75"/>
                    <a:pt x="489" y="75"/>
                    <a:pt x="489" y="75"/>
                  </a:cubicBezTo>
                  <a:cubicBezTo>
                    <a:pt x="489" y="74"/>
                    <a:pt x="490" y="73"/>
                    <a:pt x="492" y="74"/>
                  </a:cubicBezTo>
                  <a:cubicBezTo>
                    <a:pt x="495" y="74"/>
                    <a:pt x="495" y="75"/>
                    <a:pt x="495" y="76"/>
                  </a:cubicBezTo>
                  <a:cubicBezTo>
                    <a:pt x="497" y="96"/>
                    <a:pt x="504" y="110"/>
                    <a:pt x="531" y="115"/>
                  </a:cubicBezTo>
                  <a:cubicBezTo>
                    <a:pt x="531" y="95"/>
                    <a:pt x="521" y="79"/>
                    <a:pt x="503" y="70"/>
                  </a:cubicBezTo>
                  <a:cubicBezTo>
                    <a:pt x="503" y="71"/>
                    <a:pt x="503" y="71"/>
                    <a:pt x="503" y="71"/>
                  </a:cubicBezTo>
                  <a:cubicBezTo>
                    <a:pt x="502" y="70"/>
                    <a:pt x="501" y="69"/>
                    <a:pt x="501" y="67"/>
                  </a:cubicBezTo>
                  <a:cubicBezTo>
                    <a:pt x="502" y="65"/>
                    <a:pt x="503" y="64"/>
                    <a:pt x="504" y="64"/>
                  </a:cubicBezTo>
                  <a:cubicBezTo>
                    <a:pt x="508" y="65"/>
                    <a:pt x="541" y="69"/>
                    <a:pt x="543" y="69"/>
                  </a:cubicBezTo>
                  <a:cubicBezTo>
                    <a:pt x="546" y="70"/>
                    <a:pt x="549" y="71"/>
                    <a:pt x="551" y="74"/>
                  </a:cubicBezTo>
                  <a:cubicBezTo>
                    <a:pt x="553" y="76"/>
                    <a:pt x="553" y="80"/>
                    <a:pt x="552" y="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4"/>
            <p:cNvSpPr>
              <a:spLocks noEditPoints="1"/>
            </p:cNvSpPr>
            <p:nvPr userDrawn="1"/>
          </p:nvSpPr>
          <p:spPr bwMode="auto">
            <a:xfrm>
              <a:off x="4594" y="327"/>
              <a:ext cx="24" cy="25"/>
            </a:xfrm>
            <a:custGeom>
              <a:avLst/>
              <a:gdLst>
                <a:gd name="T0" fmla="*/ 13 w 101"/>
                <a:gd name="T1" fmla="*/ 99 h 103"/>
                <a:gd name="T2" fmla="*/ 13 w 101"/>
                <a:gd name="T3" fmla="*/ 99 h 103"/>
                <a:gd name="T4" fmla="*/ 11 w 101"/>
                <a:gd name="T5" fmla="*/ 1 h 103"/>
                <a:gd name="T6" fmla="*/ 10 w 101"/>
                <a:gd name="T7" fmla="*/ 3 h 103"/>
                <a:gd name="T8" fmla="*/ 10 w 101"/>
                <a:gd name="T9" fmla="*/ 5 h 103"/>
                <a:gd name="T10" fmla="*/ 12 w 101"/>
                <a:gd name="T11" fmla="*/ 6 h 103"/>
                <a:gd name="T12" fmla="*/ 33 w 101"/>
                <a:gd name="T13" fmla="*/ 17 h 103"/>
                <a:gd name="T14" fmla="*/ 42 w 101"/>
                <a:gd name="T15" fmla="*/ 42 h 103"/>
                <a:gd name="T16" fmla="*/ 7 w 101"/>
                <a:gd name="T17" fmla="*/ 15 h 103"/>
                <a:gd name="T18" fmla="*/ 4 w 101"/>
                <a:gd name="T19" fmla="*/ 13 h 103"/>
                <a:gd name="T20" fmla="*/ 0 w 101"/>
                <a:gd name="T21" fmla="*/ 15 h 103"/>
                <a:gd name="T22" fmla="*/ 0 w 101"/>
                <a:gd name="T23" fmla="*/ 15 h 103"/>
                <a:gd name="T24" fmla="*/ 0 w 101"/>
                <a:gd name="T25" fmla="*/ 85 h 103"/>
                <a:gd name="T26" fmla="*/ 4 w 101"/>
                <a:gd name="T27" fmla="*/ 88 h 103"/>
                <a:gd name="T28" fmla="*/ 7 w 101"/>
                <a:gd name="T29" fmla="*/ 86 h 103"/>
                <a:gd name="T30" fmla="*/ 7 w 101"/>
                <a:gd name="T31" fmla="*/ 86 h 103"/>
                <a:gd name="T32" fmla="*/ 42 w 101"/>
                <a:gd name="T33" fmla="*/ 59 h 103"/>
                <a:gd name="T34" fmla="*/ 33 w 101"/>
                <a:gd name="T35" fmla="*/ 86 h 103"/>
                <a:gd name="T36" fmla="*/ 12 w 101"/>
                <a:gd name="T37" fmla="*/ 96 h 103"/>
                <a:gd name="T38" fmla="*/ 12 w 101"/>
                <a:gd name="T39" fmla="*/ 96 h 103"/>
                <a:gd name="T40" fmla="*/ 10 w 101"/>
                <a:gd name="T41" fmla="*/ 97 h 103"/>
                <a:gd name="T42" fmla="*/ 10 w 101"/>
                <a:gd name="T43" fmla="*/ 100 h 103"/>
                <a:gd name="T44" fmla="*/ 11 w 101"/>
                <a:gd name="T45" fmla="*/ 102 h 103"/>
                <a:gd name="T46" fmla="*/ 13 w 101"/>
                <a:gd name="T47" fmla="*/ 103 h 103"/>
                <a:gd name="T48" fmla="*/ 89 w 101"/>
                <a:gd name="T49" fmla="*/ 103 h 103"/>
                <a:gd name="T50" fmla="*/ 91 w 101"/>
                <a:gd name="T51" fmla="*/ 102 h 103"/>
                <a:gd name="T52" fmla="*/ 92 w 101"/>
                <a:gd name="T53" fmla="*/ 99 h 103"/>
                <a:gd name="T54" fmla="*/ 92 w 101"/>
                <a:gd name="T55" fmla="*/ 99 h 103"/>
                <a:gd name="T56" fmla="*/ 92 w 101"/>
                <a:gd name="T57" fmla="*/ 99 h 103"/>
                <a:gd name="T58" fmla="*/ 91 w 101"/>
                <a:gd name="T59" fmla="*/ 97 h 103"/>
                <a:gd name="T60" fmla="*/ 89 w 101"/>
                <a:gd name="T61" fmla="*/ 96 h 103"/>
                <a:gd name="T62" fmla="*/ 65 w 101"/>
                <a:gd name="T63" fmla="*/ 77 h 103"/>
                <a:gd name="T64" fmla="*/ 60 w 101"/>
                <a:gd name="T65" fmla="*/ 60 h 103"/>
                <a:gd name="T66" fmla="*/ 94 w 101"/>
                <a:gd name="T67" fmla="*/ 86 h 103"/>
                <a:gd name="T68" fmla="*/ 94 w 101"/>
                <a:gd name="T69" fmla="*/ 86 h 103"/>
                <a:gd name="T70" fmla="*/ 98 w 101"/>
                <a:gd name="T71" fmla="*/ 89 h 103"/>
                <a:gd name="T72" fmla="*/ 101 w 101"/>
                <a:gd name="T73" fmla="*/ 86 h 103"/>
                <a:gd name="T74" fmla="*/ 101 w 101"/>
                <a:gd name="T75" fmla="*/ 85 h 103"/>
                <a:gd name="T76" fmla="*/ 101 w 101"/>
                <a:gd name="T77" fmla="*/ 15 h 103"/>
                <a:gd name="T78" fmla="*/ 101 w 101"/>
                <a:gd name="T79" fmla="*/ 15 h 103"/>
                <a:gd name="T80" fmla="*/ 98 w 101"/>
                <a:gd name="T81" fmla="*/ 12 h 103"/>
                <a:gd name="T82" fmla="*/ 94 w 101"/>
                <a:gd name="T83" fmla="*/ 15 h 103"/>
                <a:gd name="T84" fmla="*/ 60 w 101"/>
                <a:gd name="T85" fmla="*/ 42 h 103"/>
                <a:gd name="T86" fmla="*/ 65 w 101"/>
                <a:gd name="T87" fmla="*/ 26 h 103"/>
                <a:gd name="T88" fmla="*/ 89 w 101"/>
                <a:gd name="T89" fmla="*/ 6 h 103"/>
                <a:gd name="T90" fmla="*/ 91 w 101"/>
                <a:gd name="T91" fmla="*/ 5 h 103"/>
                <a:gd name="T92" fmla="*/ 92 w 101"/>
                <a:gd name="T93" fmla="*/ 3 h 103"/>
                <a:gd name="T94" fmla="*/ 92 w 101"/>
                <a:gd name="T95" fmla="*/ 3 h 103"/>
                <a:gd name="T96" fmla="*/ 91 w 101"/>
                <a:gd name="T97" fmla="*/ 1 h 103"/>
                <a:gd name="T98" fmla="*/ 89 w 101"/>
                <a:gd name="T99" fmla="*/ 0 h 103"/>
                <a:gd name="T100" fmla="*/ 13 w 101"/>
                <a:gd name="T101" fmla="*/ 0 h 103"/>
                <a:gd name="T102" fmla="*/ 11 w 101"/>
                <a:gd name="T103"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 h="103">
                  <a:moveTo>
                    <a:pt x="13" y="99"/>
                  </a:moveTo>
                  <a:cubicBezTo>
                    <a:pt x="13" y="99"/>
                    <a:pt x="13" y="99"/>
                    <a:pt x="13" y="99"/>
                  </a:cubicBezTo>
                  <a:close/>
                  <a:moveTo>
                    <a:pt x="11" y="1"/>
                  </a:moveTo>
                  <a:cubicBezTo>
                    <a:pt x="10" y="1"/>
                    <a:pt x="10" y="2"/>
                    <a:pt x="10" y="3"/>
                  </a:cubicBezTo>
                  <a:cubicBezTo>
                    <a:pt x="9" y="4"/>
                    <a:pt x="10" y="5"/>
                    <a:pt x="10" y="5"/>
                  </a:cubicBezTo>
                  <a:cubicBezTo>
                    <a:pt x="11" y="6"/>
                    <a:pt x="12" y="6"/>
                    <a:pt x="12" y="6"/>
                  </a:cubicBezTo>
                  <a:cubicBezTo>
                    <a:pt x="22" y="8"/>
                    <a:pt x="28" y="12"/>
                    <a:pt x="33" y="17"/>
                  </a:cubicBezTo>
                  <a:cubicBezTo>
                    <a:pt x="38" y="23"/>
                    <a:pt x="41" y="31"/>
                    <a:pt x="42" y="42"/>
                  </a:cubicBezTo>
                  <a:cubicBezTo>
                    <a:pt x="17" y="40"/>
                    <a:pt x="10" y="28"/>
                    <a:pt x="7" y="15"/>
                  </a:cubicBezTo>
                  <a:cubicBezTo>
                    <a:pt x="7" y="14"/>
                    <a:pt x="6" y="13"/>
                    <a:pt x="4" y="13"/>
                  </a:cubicBezTo>
                  <a:cubicBezTo>
                    <a:pt x="2" y="13"/>
                    <a:pt x="1" y="14"/>
                    <a:pt x="0" y="15"/>
                  </a:cubicBezTo>
                  <a:cubicBezTo>
                    <a:pt x="0" y="15"/>
                    <a:pt x="0" y="15"/>
                    <a:pt x="0" y="15"/>
                  </a:cubicBezTo>
                  <a:cubicBezTo>
                    <a:pt x="0" y="85"/>
                    <a:pt x="0" y="85"/>
                    <a:pt x="0" y="85"/>
                  </a:cubicBezTo>
                  <a:cubicBezTo>
                    <a:pt x="0" y="87"/>
                    <a:pt x="1" y="88"/>
                    <a:pt x="4" y="88"/>
                  </a:cubicBezTo>
                  <a:cubicBezTo>
                    <a:pt x="6" y="88"/>
                    <a:pt x="7" y="87"/>
                    <a:pt x="7" y="86"/>
                  </a:cubicBezTo>
                  <a:cubicBezTo>
                    <a:pt x="7" y="86"/>
                    <a:pt x="7" y="86"/>
                    <a:pt x="7" y="86"/>
                  </a:cubicBezTo>
                  <a:cubicBezTo>
                    <a:pt x="13" y="71"/>
                    <a:pt x="26" y="62"/>
                    <a:pt x="42" y="59"/>
                  </a:cubicBezTo>
                  <a:cubicBezTo>
                    <a:pt x="41" y="71"/>
                    <a:pt x="38" y="80"/>
                    <a:pt x="33" y="86"/>
                  </a:cubicBezTo>
                  <a:cubicBezTo>
                    <a:pt x="28" y="91"/>
                    <a:pt x="22" y="94"/>
                    <a:pt x="12" y="96"/>
                  </a:cubicBezTo>
                  <a:cubicBezTo>
                    <a:pt x="12" y="96"/>
                    <a:pt x="12" y="96"/>
                    <a:pt x="12" y="96"/>
                  </a:cubicBezTo>
                  <a:cubicBezTo>
                    <a:pt x="12" y="96"/>
                    <a:pt x="11" y="97"/>
                    <a:pt x="10" y="97"/>
                  </a:cubicBezTo>
                  <a:cubicBezTo>
                    <a:pt x="10" y="98"/>
                    <a:pt x="9" y="98"/>
                    <a:pt x="10" y="100"/>
                  </a:cubicBezTo>
                  <a:cubicBezTo>
                    <a:pt x="10" y="101"/>
                    <a:pt x="10" y="101"/>
                    <a:pt x="11" y="102"/>
                  </a:cubicBezTo>
                  <a:cubicBezTo>
                    <a:pt x="11" y="102"/>
                    <a:pt x="12" y="103"/>
                    <a:pt x="13" y="103"/>
                  </a:cubicBezTo>
                  <a:cubicBezTo>
                    <a:pt x="89" y="103"/>
                    <a:pt x="89" y="103"/>
                    <a:pt x="89" y="103"/>
                  </a:cubicBezTo>
                  <a:cubicBezTo>
                    <a:pt x="90" y="103"/>
                    <a:pt x="90" y="103"/>
                    <a:pt x="91" y="102"/>
                  </a:cubicBezTo>
                  <a:cubicBezTo>
                    <a:pt x="92" y="101"/>
                    <a:pt x="92" y="100"/>
                    <a:pt x="92" y="99"/>
                  </a:cubicBezTo>
                  <a:cubicBezTo>
                    <a:pt x="92" y="99"/>
                    <a:pt x="92" y="99"/>
                    <a:pt x="92" y="99"/>
                  </a:cubicBezTo>
                  <a:cubicBezTo>
                    <a:pt x="92" y="99"/>
                    <a:pt x="92" y="99"/>
                    <a:pt x="92" y="99"/>
                  </a:cubicBezTo>
                  <a:cubicBezTo>
                    <a:pt x="92" y="98"/>
                    <a:pt x="92" y="98"/>
                    <a:pt x="91" y="97"/>
                  </a:cubicBezTo>
                  <a:cubicBezTo>
                    <a:pt x="91" y="97"/>
                    <a:pt x="90" y="96"/>
                    <a:pt x="89" y="96"/>
                  </a:cubicBezTo>
                  <a:cubicBezTo>
                    <a:pt x="79" y="93"/>
                    <a:pt x="71" y="86"/>
                    <a:pt x="65" y="77"/>
                  </a:cubicBezTo>
                  <a:cubicBezTo>
                    <a:pt x="63" y="71"/>
                    <a:pt x="61" y="66"/>
                    <a:pt x="60" y="60"/>
                  </a:cubicBezTo>
                  <a:cubicBezTo>
                    <a:pt x="76" y="62"/>
                    <a:pt x="88" y="72"/>
                    <a:pt x="94" y="86"/>
                  </a:cubicBezTo>
                  <a:cubicBezTo>
                    <a:pt x="94" y="86"/>
                    <a:pt x="94" y="86"/>
                    <a:pt x="94" y="86"/>
                  </a:cubicBezTo>
                  <a:cubicBezTo>
                    <a:pt x="95" y="87"/>
                    <a:pt x="95" y="89"/>
                    <a:pt x="98" y="89"/>
                  </a:cubicBezTo>
                  <a:cubicBezTo>
                    <a:pt x="100" y="89"/>
                    <a:pt x="101" y="87"/>
                    <a:pt x="101" y="86"/>
                  </a:cubicBezTo>
                  <a:cubicBezTo>
                    <a:pt x="101" y="85"/>
                    <a:pt x="101" y="85"/>
                    <a:pt x="101" y="85"/>
                  </a:cubicBezTo>
                  <a:cubicBezTo>
                    <a:pt x="101" y="15"/>
                    <a:pt x="101" y="15"/>
                    <a:pt x="101" y="15"/>
                  </a:cubicBezTo>
                  <a:cubicBezTo>
                    <a:pt x="101" y="15"/>
                    <a:pt x="101" y="15"/>
                    <a:pt x="101" y="15"/>
                  </a:cubicBezTo>
                  <a:cubicBezTo>
                    <a:pt x="101" y="14"/>
                    <a:pt x="100" y="12"/>
                    <a:pt x="98" y="12"/>
                  </a:cubicBezTo>
                  <a:cubicBezTo>
                    <a:pt x="96" y="12"/>
                    <a:pt x="95" y="14"/>
                    <a:pt x="94" y="15"/>
                  </a:cubicBezTo>
                  <a:cubicBezTo>
                    <a:pt x="91" y="28"/>
                    <a:pt x="85" y="40"/>
                    <a:pt x="60" y="42"/>
                  </a:cubicBezTo>
                  <a:cubicBezTo>
                    <a:pt x="61" y="36"/>
                    <a:pt x="63" y="31"/>
                    <a:pt x="65" y="26"/>
                  </a:cubicBezTo>
                  <a:cubicBezTo>
                    <a:pt x="71" y="17"/>
                    <a:pt x="79" y="10"/>
                    <a:pt x="89" y="6"/>
                  </a:cubicBezTo>
                  <a:cubicBezTo>
                    <a:pt x="90" y="6"/>
                    <a:pt x="91" y="6"/>
                    <a:pt x="91" y="5"/>
                  </a:cubicBezTo>
                  <a:cubicBezTo>
                    <a:pt x="92" y="5"/>
                    <a:pt x="92" y="4"/>
                    <a:pt x="92" y="3"/>
                  </a:cubicBezTo>
                  <a:cubicBezTo>
                    <a:pt x="92" y="3"/>
                    <a:pt x="92" y="3"/>
                    <a:pt x="92" y="3"/>
                  </a:cubicBezTo>
                  <a:cubicBezTo>
                    <a:pt x="92" y="2"/>
                    <a:pt x="92" y="1"/>
                    <a:pt x="91" y="1"/>
                  </a:cubicBezTo>
                  <a:cubicBezTo>
                    <a:pt x="90" y="0"/>
                    <a:pt x="89" y="0"/>
                    <a:pt x="89" y="0"/>
                  </a:cubicBezTo>
                  <a:cubicBezTo>
                    <a:pt x="13" y="0"/>
                    <a:pt x="13" y="0"/>
                    <a:pt x="13" y="0"/>
                  </a:cubicBezTo>
                  <a:cubicBezTo>
                    <a:pt x="12" y="0"/>
                    <a:pt x="11" y="0"/>
                    <a:pt x="1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Oval 45"/>
            <p:cNvSpPr>
              <a:spLocks noChangeArrowheads="1"/>
            </p:cNvSpPr>
            <p:nvPr userDrawn="1"/>
          </p:nvSpPr>
          <p:spPr bwMode="auto">
            <a:xfrm>
              <a:off x="4602" y="379"/>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Oval 46"/>
            <p:cNvSpPr>
              <a:spLocks noChangeArrowheads="1"/>
            </p:cNvSpPr>
            <p:nvPr userDrawn="1"/>
          </p:nvSpPr>
          <p:spPr bwMode="auto">
            <a:xfrm>
              <a:off x="4603" y="371"/>
              <a:ext cx="6"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47"/>
            <p:cNvSpPr>
              <a:spLocks noChangeArrowheads="1"/>
            </p:cNvSpPr>
            <p:nvPr userDrawn="1"/>
          </p:nvSpPr>
          <p:spPr bwMode="auto">
            <a:xfrm>
              <a:off x="4602" y="388"/>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48"/>
            <p:cNvSpPr>
              <a:spLocks noChangeArrowheads="1"/>
            </p:cNvSpPr>
            <p:nvPr userDrawn="1"/>
          </p:nvSpPr>
          <p:spPr bwMode="auto">
            <a:xfrm>
              <a:off x="4602" y="397"/>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49"/>
            <p:cNvSpPr>
              <a:spLocks noChangeArrowheads="1"/>
            </p:cNvSpPr>
            <p:nvPr userDrawn="1"/>
          </p:nvSpPr>
          <p:spPr bwMode="auto">
            <a:xfrm>
              <a:off x="4602" y="406"/>
              <a:ext cx="8" cy="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50"/>
            <p:cNvSpPr>
              <a:spLocks/>
            </p:cNvSpPr>
            <p:nvPr userDrawn="1"/>
          </p:nvSpPr>
          <p:spPr bwMode="auto">
            <a:xfrm>
              <a:off x="4536" y="365"/>
              <a:ext cx="65" cy="52"/>
            </a:xfrm>
            <a:custGeom>
              <a:avLst/>
              <a:gdLst>
                <a:gd name="T0" fmla="*/ 250 w 268"/>
                <a:gd name="T1" fmla="*/ 50 h 216"/>
                <a:gd name="T2" fmla="*/ 256 w 268"/>
                <a:gd name="T3" fmla="*/ 37 h 216"/>
                <a:gd name="T4" fmla="*/ 222 w 268"/>
                <a:gd name="T5" fmla="*/ 37 h 216"/>
                <a:gd name="T6" fmla="*/ 223 w 268"/>
                <a:gd name="T7" fmla="*/ 42 h 216"/>
                <a:gd name="T8" fmla="*/ 217 w 268"/>
                <a:gd name="T9" fmla="*/ 27 h 216"/>
                <a:gd name="T10" fmla="*/ 183 w 268"/>
                <a:gd name="T11" fmla="*/ 27 h 216"/>
                <a:gd name="T12" fmla="*/ 184 w 268"/>
                <a:gd name="T13" fmla="*/ 32 h 216"/>
                <a:gd name="T14" fmla="*/ 177 w 268"/>
                <a:gd name="T15" fmla="*/ 17 h 216"/>
                <a:gd name="T16" fmla="*/ 144 w 268"/>
                <a:gd name="T17" fmla="*/ 17 h 216"/>
                <a:gd name="T18" fmla="*/ 146 w 268"/>
                <a:gd name="T19" fmla="*/ 26 h 216"/>
                <a:gd name="T20" fmla="*/ 137 w 268"/>
                <a:gd name="T21" fmla="*/ 19 h 216"/>
                <a:gd name="T22" fmla="*/ 103 w 268"/>
                <a:gd name="T23" fmla="*/ 19 h 216"/>
                <a:gd name="T24" fmla="*/ 108 w 268"/>
                <a:gd name="T25" fmla="*/ 32 h 216"/>
                <a:gd name="T26" fmla="*/ 97 w 268"/>
                <a:gd name="T27" fmla="*/ 36 h 216"/>
                <a:gd name="T28" fmla="*/ 81 w 268"/>
                <a:gd name="T29" fmla="*/ 16 h 216"/>
                <a:gd name="T30" fmla="*/ 74 w 268"/>
                <a:gd name="T31" fmla="*/ 49 h 216"/>
                <a:gd name="T32" fmla="*/ 64 w 268"/>
                <a:gd name="T33" fmla="*/ 56 h 216"/>
                <a:gd name="T34" fmla="*/ 31 w 268"/>
                <a:gd name="T35" fmla="*/ 59 h 216"/>
                <a:gd name="T36" fmla="*/ 40 w 268"/>
                <a:gd name="T37" fmla="*/ 86 h 216"/>
                <a:gd name="T38" fmla="*/ 9 w 268"/>
                <a:gd name="T39" fmla="*/ 95 h 216"/>
                <a:gd name="T40" fmla="*/ 29 w 268"/>
                <a:gd name="T41" fmla="*/ 111 h 216"/>
                <a:gd name="T42" fmla="*/ 27 w 268"/>
                <a:gd name="T43" fmla="*/ 122 h 216"/>
                <a:gd name="T44" fmla="*/ 0 w 268"/>
                <a:gd name="T45" fmla="*/ 136 h 216"/>
                <a:gd name="T46" fmla="*/ 26 w 268"/>
                <a:gd name="T47" fmla="*/ 150 h 216"/>
                <a:gd name="T48" fmla="*/ 27 w 268"/>
                <a:gd name="T49" fmla="*/ 157 h 216"/>
                <a:gd name="T50" fmla="*/ 27 w 268"/>
                <a:gd name="T51" fmla="*/ 162 h 216"/>
                <a:gd name="T52" fmla="*/ 3 w 268"/>
                <a:gd name="T53" fmla="*/ 177 h 216"/>
                <a:gd name="T54" fmla="*/ 31 w 268"/>
                <a:gd name="T55" fmla="*/ 189 h 216"/>
                <a:gd name="T56" fmla="*/ 55 w 268"/>
                <a:gd name="T57" fmla="*/ 214 h 216"/>
                <a:gd name="T58" fmla="*/ 47 w 268"/>
                <a:gd name="T59" fmla="*/ 157 h 216"/>
                <a:gd name="T60" fmla="*/ 146 w 268"/>
                <a:gd name="T61" fmla="*/ 49 h 216"/>
                <a:gd name="T62" fmla="*/ 239 w 268"/>
                <a:gd name="T63" fmla="*/ 70 h 216"/>
                <a:gd name="T64" fmla="*/ 246 w 268"/>
                <a:gd name="T65" fmla="*/ 202 h 216"/>
                <a:gd name="T66" fmla="*/ 267 w 268"/>
                <a:gd name="T67" fmla="*/ 6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16">
                  <a:moveTo>
                    <a:pt x="254" y="51"/>
                  </a:moveTo>
                  <a:cubicBezTo>
                    <a:pt x="250" y="50"/>
                    <a:pt x="250" y="50"/>
                    <a:pt x="250" y="50"/>
                  </a:cubicBezTo>
                  <a:cubicBezTo>
                    <a:pt x="250" y="50"/>
                    <a:pt x="250" y="50"/>
                    <a:pt x="250" y="50"/>
                  </a:cubicBezTo>
                  <a:cubicBezTo>
                    <a:pt x="254" y="47"/>
                    <a:pt x="256" y="42"/>
                    <a:pt x="256" y="37"/>
                  </a:cubicBezTo>
                  <a:cubicBezTo>
                    <a:pt x="256" y="28"/>
                    <a:pt x="249" y="20"/>
                    <a:pt x="239" y="20"/>
                  </a:cubicBezTo>
                  <a:cubicBezTo>
                    <a:pt x="230" y="20"/>
                    <a:pt x="222" y="28"/>
                    <a:pt x="222" y="37"/>
                  </a:cubicBezTo>
                  <a:cubicBezTo>
                    <a:pt x="222" y="39"/>
                    <a:pt x="223" y="41"/>
                    <a:pt x="223" y="42"/>
                  </a:cubicBezTo>
                  <a:cubicBezTo>
                    <a:pt x="223" y="42"/>
                    <a:pt x="223" y="42"/>
                    <a:pt x="223" y="42"/>
                  </a:cubicBezTo>
                  <a:cubicBezTo>
                    <a:pt x="211" y="39"/>
                    <a:pt x="211" y="39"/>
                    <a:pt x="211" y="39"/>
                  </a:cubicBezTo>
                  <a:cubicBezTo>
                    <a:pt x="215" y="36"/>
                    <a:pt x="217" y="32"/>
                    <a:pt x="217" y="27"/>
                  </a:cubicBezTo>
                  <a:cubicBezTo>
                    <a:pt x="217" y="18"/>
                    <a:pt x="209" y="10"/>
                    <a:pt x="200" y="10"/>
                  </a:cubicBezTo>
                  <a:cubicBezTo>
                    <a:pt x="191" y="10"/>
                    <a:pt x="183" y="18"/>
                    <a:pt x="183" y="27"/>
                  </a:cubicBezTo>
                  <a:cubicBezTo>
                    <a:pt x="183" y="29"/>
                    <a:pt x="183" y="30"/>
                    <a:pt x="184" y="32"/>
                  </a:cubicBezTo>
                  <a:cubicBezTo>
                    <a:pt x="184" y="32"/>
                    <a:pt x="184" y="32"/>
                    <a:pt x="184" y="32"/>
                  </a:cubicBezTo>
                  <a:cubicBezTo>
                    <a:pt x="180" y="31"/>
                    <a:pt x="176" y="30"/>
                    <a:pt x="173" y="29"/>
                  </a:cubicBezTo>
                  <a:cubicBezTo>
                    <a:pt x="176" y="26"/>
                    <a:pt x="177" y="22"/>
                    <a:pt x="177" y="17"/>
                  </a:cubicBezTo>
                  <a:cubicBezTo>
                    <a:pt x="177" y="8"/>
                    <a:pt x="170" y="0"/>
                    <a:pt x="161" y="0"/>
                  </a:cubicBezTo>
                  <a:cubicBezTo>
                    <a:pt x="151" y="0"/>
                    <a:pt x="144" y="8"/>
                    <a:pt x="144" y="17"/>
                  </a:cubicBezTo>
                  <a:cubicBezTo>
                    <a:pt x="144" y="20"/>
                    <a:pt x="145" y="23"/>
                    <a:pt x="146" y="26"/>
                  </a:cubicBezTo>
                  <a:cubicBezTo>
                    <a:pt x="146" y="26"/>
                    <a:pt x="146" y="26"/>
                    <a:pt x="146" y="26"/>
                  </a:cubicBezTo>
                  <a:cubicBezTo>
                    <a:pt x="142" y="26"/>
                    <a:pt x="138" y="26"/>
                    <a:pt x="135" y="26"/>
                  </a:cubicBezTo>
                  <a:cubicBezTo>
                    <a:pt x="136" y="24"/>
                    <a:pt x="137" y="22"/>
                    <a:pt x="137" y="19"/>
                  </a:cubicBezTo>
                  <a:cubicBezTo>
                    <a:pt x="137" y="10"/>
                    <a:pt x="129" y="2"/>
                    <a:pt x="120" y="2"/>
                  </a:cubicBezTo>
                  <a:cubicBezTo>
                    <a:pt x="110" y="2"/>
                    <a:pt x="103" y="10"/>
                    <a:pt x="103" y="19"/>
                  </a:cubicBezTo>
                  <a:cubicBezTo>
                    <a:pt x="103" y="24"/>
                    <a:pt x="105" y="28"/>
                    <a:pt x="108" y="32"/>
                  </a:cubicBezTo>
                  <a:cubicBezTo>
                    <a:pt x="108" y="32"/>
                    <a:pt x="108" y="32"/>
                    <a:pt x="108" y="32"/>
                  </a:cubicBezTo>
                  <a:cubicBezTo>
                    <a:pt x="105" y="33"/>
                    <a:pt x="101" y="34"/>
                    <a:pt x="97" y="36"/>
                  </a:cubicBezTo>
                  <a:cubicBezTo>
                    <a:pt x="97" y="36"/>
                    <a:pt x="97" y="36"/>
                    <a:pt x="97" y="36"/>
                  </a:cubicBezTo>
                  <a:cubicBezTo>
                    <a:pt x="97" y="35"/>
                    <a:pt x="97" y="34"/>
                    <a:pt x="97" y="33"/>
                  </a:cubicBezTo>
                  <a:cubicBezTo>
                    <a:pt x="97" y="24"/>
                    <a:pt x="90" y="16"/>
                    <a:pt x="81" y="16"/>
                  </a:cubicBezTo>
                  <a:cubicBezTo>
                    <a:pt x="71" y="16"/>
                    <a:pt x="64" y="24"/>
                    <a:pt x="64" y="33"/>
                  </a:cubicBezTo>
                  <a:cubicBezTo>
                    <a:pt x="64" y="40"/>
                    <a:pt x="68" y="46"/>
                    <a:pt x="74" y="49"/>
                  </a:cubicBezTo>
                  <a:cubicBezTo>
                    <a:pt x="70" y="51"/>
                    <a:pt x="67" y="53"/>
                    <a:pt x="64" y="56"/>
                  </a:cubicBezTo>
                  <a:cubicBezTo>
                    <a:pt x="64" y="56"/>
                    <a:pt x="64" y="56"/>
                    <a:pt x="64" y="56"/>
                  </a:cubicBezTo>
                  <a:cubicBezTo>
                    <a:pt x="63" y="48"/>
                    <a:pt x="56" y="42"/>
                    <a:pt x="48" y="42"/>
                  </a:cubicBezTo>
                  <a:cubicBezTo>
                    <a:pt x="39" y="42"/>
                    <a:pt x="31" y="50"/>
                    <a:pt x="31" y="59"/>
                  </a:cubicBezTo>
                  <a:cubicBezTo>
                    <a:pt x="31" y="68"/>
                    <a:pt x="38" y="75"/>
                    <a:pt x="46" y="76"/>
                  </a:cubicBezTo>
                  <a:cubicBezTo>
                    <a:pt x="44" y="79"/>
                    <a:pt x="42" y="82"/>
                    <a:pt x="40" y="86"/>
                  </a:cubicBezTo>
                  <a:cubicBezTo>
                    <a:pt x="37" y="81"/>
                    <a:pt x="31" y="78"/>
                    <a:pt x="25" y="78"/>
                  </a:cubicBezTo>
                  <a:cubicBezTo>
                    <a:pt x="16" y="78"/>
                    <a:pt x="9" y="85"/>
                    <a:pt x="9" y="95"/>
                  </a:cubicBezTo>
                  <a:cubicBezTo>
                    <a:pt x="9" y="104"/>
                    <a:pt x="16" y="111"/>
                    <a:pt x="25" y="111"/>
                  </a:cubicBezTo>
                  <a:cubicBezTo>
                    <a:pt x="27" y="111"/>
                    <a:pt x="28" y="111"/>
                    <a:pt x="29" y="111"/>
                  </a:cubicBezTo>
                  <a:cubicBezTo>
                    <a:pt x="29" y="111"/>
                    <a:pt x="29" y="111"/>
                    <a:pt x="29" y="111"/>
                  </a:cubicBezTo>
                  <a:cubicBezTo>
                    <a:pt x="28" y="115"/>
                    <a:pt x="27" y="118"/>
                    <a:pt x="27" y="122"/>
                  </a:cubicBezTo>
                  <a:cubicBezTo>
                    <a:pt x="24" y="120"/>
                    <a:pt x="21" y="119"/>
                    <a:pt x="17" y="119"/>
                  </a:cubicBezTo>
                  <a:cubicBezTo>
                    <a:pt x="8" y="119"/>
                    <a:pt x="0" y="126"/>
                    <a:pt x="0" y="136"/>
                  </a:cubicBezTo>
                  <a:cubicBezTo>
                    <a:pt x="0" y="145"/>
                    <a:pt x="8" y="152"/>
                    <a:pt x="17" y="152"/>
                  </a:cubicBezTo>
                  <a:cubicBezTo>
                    <a:pt x="20" y="152"/>
                    <a:pt x="23" y="152"/>
                    <a:pt x="26" y="150"/>
                  </a:cubicBezTo>
                  <a:cubicBezTo>
                    <a:pt x="26" y="150"/>
                    <a:pt x="26" y="150"/>
                    <a:pt x="26" y="150"/>
                  </a:cubicBezTo>
                  <a:cubicBezTo>
                    <a:pt x="26" y="152"/>
                    <a:pt x="26" y="155"/>
                    <a:pt x="27" y="157"/>
                  </a:cubicBezTo>
                  <a:cubicBezTo>
                    <a:pt x="27" y="157"/>
                    <a:pt x="27" y="159"/>
                    <a:pt x="27" y="162"/>
                  </a:cubicBezTo>
                  <a:cubicBezTo>
                    <a:pt x="27" y="162"/>
                    <a:pt x="27" y="162"/>
                    <a:pt x="27" y="162"/>
                  </a:cubicBezTo>
                  <a:cubicBezTo>
                    <a:pt x="25" y="161"/>
                    <a:pt x="23" y="160"/>
                    <a:pt x="20" y="160"/>
                  </a:cubicBezTo>
                  <a:cubicBezTo>
                    <a:pt x="11" y="160"/>
                    <a:pt x="3" y="167"/>
                    <a:pt x="3" y="177"/>
                  </a:cubicBezTo>
                  <a:cubicBezTo>
                    <a:pt x="3" y="186"/>
                    <a:pt x="11" y="194"/>
                    <a:pt x="20" y="194"/>
                  </a:cubicBezTo>
                  <a:cubicBezTo>
                    <a:pt x="25" y="194"/>
                    <a:pt x="29" y="192"/>
                    <a:pt x="31" y="189"/>
                  </a:cubicBezTo>
                  <a:cubicBezTo>
                    <a:pt x="35" y="216"/>
                    <a:pt x="35" y="216"/>
                    <a:pt x="35" y="216"/>
                  </a:cubicBezTo>
                  <a:cubicBezTo>
                    <a:pt x="55" y="214"/>
                    <a:pt x="55" y="214"/>
                    <a:pt x="55" y="214"/>
                  </a:cubicBezTo>
                  <a:cubicBezTo>
                    <a:pt x="51" y="182"/>
                    <a:pt x="47" y="157"/>
                    <a:pt x="47" y="157"/>
                  </a:cubicBezTo>
                  <a:cubicBezTo>
                    <a:pt x="47" y="157"/>
                    <a:pt x="47" y="157"/>
                    <a:pt x="47" y="157"/>
                  </a:cubicBezTo>
                  <a:cubicBezTo>
                    <a:pt x="46" y="152"/>
                    <a:pt x="46" y="147"/>
                    <a:pt x="46" y="142"/>
                  </a:cubicBezTo>
                  <a:cubicBezTo>
                    <a:pt x="46" y="91"/>
                    <a:pt x="91" y="49"/>
                    <a:pt x="146" y="49"/>
                  </a:cubicBezTo>
                  <a:cubicBezTo>
                    <a:pt x="157" y="49"/>
                    <a:pt x="169" y="51"/>
                    <a:pt x="179" y="54"/>
                  </a:cubicBezTo>
                  <a:cubicBezTo>
                    <a:pt x="179" y="54"/>
                    <a:pt x="211" y="63"/>
                    <a:pt x="239" y="70"/>
                  </a:cubicBezTo>
                  <a:cubicBezTo>
                    <a:pt x="245" y="71"/>
                    <a:pt x="245" y="80"/>
                    <a:pt x="245" y="80"/>
                  </a:cubicBezTo>
                  <a:cubicBezTo>
                    <a:pt x="246" y="202"/>
                    <a:pt x="246" y="202"/>
                    <a:pt x="246" y="202"/>
                  </a:cubicBezTo>
                  <a:cubicBezTo>
                    <a:pt x="267" y="202"/>
                    <a:pt x="267" y="202"/>
                    <a:pt x="267" y="202"/>
                  </a:cubicBezTo>
                  <a:cubicBezTo>
                    <a:pt x="267" y="69"/>
                    <a:pt x="267" y="69"/>
                    <a:pt x="267" y="69"/>
                  </a:cubicBezTo>
                  <a:cubicBezTo>
                    <a:pt x="267" y="69"/>
                    <a:pt x="268" y="54"/>
                    <a:pt x="25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51"/>
            <p:cNvSpPr>
              <a:spLocks/>
            </p:cNvSpPr>
            <p:nvPr userDrawn="1"/>
          </p:nvSpPr>
          <p:spPr bwMode="auto">
            <a:xfrm>
              <a:off x="4611" y="365"/>
              <a:ext cx="65" cy="52"/>
            </a:xfrm>
            <a:custGeom>
              <a:avLst/>
              <a:gdLst>
                <a:gd name="T0" fmla="*/ 240 w 267"/>
                <a:gd name="T1" fmla="*/ 162 h 216"/>
                <a:gd name="T2" fmla="*/ 241 w 267"/>
                <a:gd name="T3" fmla="*/ 157 h 216"/>
                <a:gd name="T4" fmla="*/ 242 w 267"/>
                <a:gd name="T5" fmla="*/ 150 h 216"/>
                <a:gd name="T6" fmla="*/ 267 w 267"/>
                <a:gd name="T7" fmla="*/ 136 h 216"/>
                <a:gd name="T8" fmla="*/ 241 w 267"/>
                <a:gd name="T9" fmla="*/ 122 h 216"/>
                <a:gd name="T10" fmla="*/ 238 w 267"/>
                <a:gd name="T11" fmla="*/ 111 h 216"/>
                <a:gd name="T12" fmla="*/ 242 w 267"/>
                <a:gd name="T13" fmla="*/ 111 h 216"/>
                <a:gd name="T14" fmla="*/ 242 w 267"/>
                <a:gd name="T15" fmla="*/ 78 h 216"/>
                <a:gd name="T16" fmla="*/ 221 w 267"/>
                <a:gd name="T17" fmla="*/ 76 h 216"/>
                <a:gd name="T18" fmla="*/ 219 w 267"/>
                <a:gd name="T19" fmla="*/ 42 h 216"/>
                <a:gd name="T20" fmla="*/ 203 w 267"/>
                <a:gd name="T21" fmla="*/ 56 h 216"/>
                <a:gd name="T22" fmla="*/ 204 w 267"/>
                <a:gd name="T23" fmla="*/ 33 h 216"/>
                <a:gd name="T24" fmla="*/ 170 w 267"/>
                <a:gd name="T25" fmla="*/ 33 h 216"/>
                <a:gd name="T26" fmla="*/ 170 w 267"/>
                <a:gd name="T27" fmla="*/ 36 h 216"/>
                <a:gd name="T28" fmla="*/ 159 w 267"/>
                <a:gd name="T29" fmla="*/ 32 h 216"/>
                <a:gd name="T30" fmla="*/ 148 w 267"/>
                <a:gd name="T31" fmla="*/ 2 h 216"/>
                <a:gd name="T32" fmla="*/ 133 w 267"/>
                <a:gd name="T33" fmla="*/ 26 h 216"/>
                <a:gd name="T34" fmla="*/ 121 w 267"/>
                <a:gd name="T35" fmla="*/ 26 h 216"/>
                <a:gd name="T36" fmla="*/ 107 w 267"/>
                <a:gd name="T37" fmla="*/ 0 h 216"/>
                <a:gd name="T38" fmla="*/ 95 w 267"/>
                <a:gd name="T39" fmla="*/ 29 h 216"/>
                <a:gd name="T40" fmla="*/ 83 w 267"/>
                <a:gd name="T41" fmla="*/ 32 h 216"/>
                <a:gd name="T42" fmla="*/ 67 w 267"/>
                <a:gd name="T43" fmla="*/ 10 h 216"/>
                <a:gd name="T44" fmla="*/ 56 w 267"/>
                <a:gd name="T45" fmla="*/ 39 h 216"/>
                <a:gd name="T46" fmla="*/ 44 w 267"/>
                <a:gd name="T47" fmla="*/ 42 h 216"/>
                <a:gd name="T48" fmla="*/ 28 w 267"/>
                <a:gd name="T49" fmla="*/ 20 h 216"/>
                <a:gd name="T50" fmla="*/ 17 w 267"/>
                <a:gd name="T51" fmla="*/ 50 h 216"/>
                <a:gd name="T52" fmla="*/ 13 w 267"/>
                <a:gd name="T53" fmla="*/ 51 h 216"/>
                <a:gd name="T54" fmla="*/ 1 w 267"/>
                <a:gd name="T55" fmla="*/ 202 h 216"/>
                <a:gd name="T56" fmla="*/ 23 w 267"/>
                <a:gd name="T57" fmla="*/ 80 h 216"/>
                <a:gd name="T58" fmla="*/ 88 w 267"/>
                <a:gd name="T59" fmla="*/ 54 h 216"/>
                <a:gd name="T60" fmla="*/ 221 w 267"/>
                <a:gd name="T61" fmla="*/ 142 h 216"/>
                <a:gd name="T62" fmla="*/ 220 w 267"/>
                <a:gd name="T63" fmla="*/ 157 h 216"/>
                <a:gd name="T64" fmla="*/ 232 w 267"/>
                <a:gd name="T65" fmla="*/ 216 h 216"/>
                <a:gd name="T66" fmla="*/ 236 w 267"/>
                <a:gd name="T67" fmla="*/ 189 h 216"/>
                <a:gd name="T68" fmla="*/ 264 w 267"/>
                <a:gd name="T69" fmla="*/ 17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16">
                  <a:moveTo>
                    <a:pt x="247" y="160"/>
                  </a:moveTo>
                  <a:cubicBezTo>
                    <a:pt x="245" y="160"/>
                    <a:pt x="242" y="161"/>
                    <a:pt x="240" y="162"/>
                  </a:cubicBezTo>
                  <a:cubicBezTo>
                    <a:pt x="240" y="162"/>
                    <a:pt x="240" y="162"/>
                    <a:pt x="240" y="162"/>
                  </a:cubicBezTo>
                  <a:cubicBezTo>
                    <a:pt x="241" y="157"/>
                    <a:pt x="241" y="157"/>
                    <a:pt x="241" y="157"/>
                  </a:cubicBezTo>
                  <a:cubicBezTo>
                    <a:pt x="241" y="155"/>
                    <a:pt x="241" y="152"/>
                    <a:pt x="242" y="150"/>
                  </a:cubicBezTo>
                  <a:cubicBezTo>
                    <a:pt x="242" y="150"/>
                    <a:pt x="242" y="150"/>
                    <a:pt x="242" y="150"/>
                  </a:cubicBezTo>
                  <a:cubicBezTo>
                    <a:pt x="244" y="152"/>
                    <a:pt x="247" y="152"/>
                    <a:pt x="250" y="152"/>
                  </a:cubicBezTo>
                  <a:cubicBezTo>
                    <a:pt x="260" y="152"/>
                    <a:pt x="267" y="145"/>
                    <a:pt x="267" y="136"/>
                  </a:cubicBezTo>
                  <a:cubicBezTo>
                    <a:pt x="267" y="126"/>
                    <a:pt x="260" y="119"/>
                    <a:pt x="250" y="119"/>
                  </a:cubicBezTo>
                  <a:cubicBezTo>
                    <a:pt x="247" y="119"/>
                    <a:pt x="243" y="120"/>
                    <a:pt x="241" y="122"/>
                  </a:cubicBezTo>
                  <a:cubicBezTo>
                    <a:pt x="241" y="122"/>
                    <a:pt x="241" y="122"/>
                    <a:pt x="241" y="122"/>
                  </a:cubicBezTo>
                  <a:cubicBezTo>
                    <a:pt x="240" y="118"/>
                    <a:pt x="239" y="115"/>
                    <a:pt x="238" y="111"/>
                  </a:cubicBezTo>
                  <a:cubicBezTo>
                    <a:pt x="238" y="111"/>
                    <a:pt x="238" y="111"/>
                    <a:pt x="238" y="111"/>
                  </a:cubicBezTo>
                  <a:cubicBezTo>
                    <a:pt x="240" y="111"/>
                    <a:pt x="241" y="111"/>
                    <a:pt x="242" y="111"/>
                  </a:cubicBezTo>
                  <a:cubicBezTo>
                    <a:pt x="251" y="111"/>
                    <a:pt x="259" y="104"/>
                    <a:pt x="259" y="95"/>
                  </a:cubicBezTo>
                  <a:cubicBezTo>
                    <a:pt x="259" y="85"/>
                    <a:pt x="251" y="78"/>
                    <a:pt x="242" y="78"/>
                  </a:cubicBezTo>
                  <a:cubicBezTo>
                    <a:pt x="236" y="78"/>
                    <a:pt x="231" y="81"/>
                    <a:pt x="228" y="86"/>
                  </a:cubicBezTo>
                  <a:cubicBezTo>
                    <a:pt x="226" y="82"/>
                    <a:pt x="224" y="79"/>
                    <a:pt x="221" y="76"/>
                  </a:cubicBezTo>
                  <a:cubicBezTo>
                    <a:pt x="230" y="75"/>
                    <a:pt x="236" y="68"/>
                    <a:pt x="236" y="59"/>
                  </a:cubicBezTo>
                  <a:cubicBezTo>
                    <a:pt x="236" y="50"/>
                    <a:pt x="229" y="42"/>
                    <a:pt x="219" y="42"/>
                  </a:cubicBezTo>
                  <a:cubicBezTo>
                    <a:pt x="211" y="42"/>
                    <a:pt x="205" y="48"/>
                    <a:pt x="203" y="56"/>
                  </a:cubicBezTo>
                  <a:cubicBezTo>
                    <a:pt x="203" y="56"/>
                    <a:pt x="203" y="56"/>
                    <a:pt x="203" y="56"/>
                  </a:cubicBezTo>
                  <a:cubicBezTo>
                    <a:pt x="200" y="53"/>
                    <a:pt x="197" y="51"/>
                    <a:pt x="194" y="49"/>
                  </a:cubicBezTo>
                  <a:cubicBezTo>
                    <a:pt x="200" y="46"/>
                    <a:pt x="204" y="40"/>
                    <a:pt x="204" y="33"/>
                  </a:cubicBezTo>
                  <a:cubicBezTo>
                    <a:pt x="204" y="24"/>
                    <a:pt x="196" y="16"/>
                    <a:pt x="187" y="16"/>
                  </a:cubicBezTo>
                  <a:cubicBezTo>
                    <a:pt x="178" y="16"/>
                    <a:pt x="170" y="24"/>
                    <a:pt x="170" y="33"/>
                  </a:cubicBezTo>
                  <a:cubicBezTo>
                    <a:pt x="170" y="34"/>
                    <a:pt x="170" y="35"/>
                    <a:pt x="170" y="36"/>
                  </a:cubicBezTo>
                  <a:cubicBezTo>
                    <a:pt x="170" y="36"/>
                    <a:pt x="170" y="36"/>
                    <a:pt x="170" y="36"/>
                  </a:cubicBezTo>
                  <a:cubicBezTo>
                    <a:pt x="167" y="34"/>
                    <a:pt x="163" y="33"/>
                    <a:pt x="159" y="32"/>
                  </a:cubicBezTo>
                  <a:cubicBezTo>
                    <a:pt x="159" y="32"/>
                    <a:pt x="159" y="32"/>
                    <a:pt x="159" y="32"/>
                  </a:cubicBezTo>
                  <a:cubicBezTo>
                    <a:pt x="162" y="28"/>
                    <a:pt x="164" y="24"/>
                    <a:pt x="164" y="19"/>
                  </a:cubicBezTo>
                  <a:cubicBezTo>
                    <a:pt x="164" y="10"/>
                    <a:pt x="157" y="2"/>
                    <a:pt x="148" y="2"/>
                  </a:cubicBezTo>
                  <a:cubicBezTo>
                    <a:pt x="138" y="2"/>
                    <a:pt x="131" y="10"/>
                    <a:pt x="131" y="19"/>
                  </a:cubicBezTo>
                  <a:cubicBezTo>
                    <a:pt x="131" y="22"/>
                    <a:pt x="131" y="24"/>
                    <a:pt x="133" y="26"/>
                  </a:cubicBezTo>
                  <a:cubicBezTo>
                    <a:pt x="129" y="26"/>
                    <a:pt x="125" y="26"/>
                    <a:pt x="122" y="26"/>
                  </a:cubicBezTo>
                  <a:cubicBezTo>
                    <a:pt x="121" y="26"/>
                    <a:pt x="121" y="26"/>
                    <a:pt x="121" y="26"/>
                  </a:cubicBezTo>
                  <a:cubicBezTo>
                    <a:pt x="123" y="23"/>
                    <a:pt x="124" y="20"/>
                    <a:pt x="124" y="17"/>
                  </a:cubicBezTo>
                  <a:cubicBezTo>
                    <a:pt x="124" y="8"/>
                    <a:pt x="116" y="0"/>
                    <a:pt x="107" y="0"/>
                  </a:cubicBezTo>
                  <a:cubicBezTo>
                    <a:pt x="97" y="0"/>
                    <a:pt x="90" y="8"/>
                    <a:pt x="90" y="17"/>
                  </a:cubicBezTo>
                  <a:cubicBezTo>
                    <a:pt x="90" y="22"/>
                    <a:pt x="92" y="26"/>
                    <a:pt x="95" y="29"/>
                  </a:cubicBezTo>
                  <a:cubicBezTo>
                    <a:pt x="91" y="30"/>
                    <a:pt x="87" y="31"/>
                    <a:pt x="83" y="32"/>
                  </a:cubicBezTo>
                  <a:cubicBezTo>
                    <a:pt x="83" y="32"/>
                    <a:pt x="83" y="32"/>
                    <a:pt x="83" y="32"/>
                  </a:cubicBezTo>
                  <a:cubicBezTo>
                    <a:pt x="84" y="30"/>
                    <a:pt x="84" y="29"/>
                    <a:pt x="84" y="27"/>
                  </a:cubicBezTo>
                  <a:cubicBezTo>
                    <a:pt x="84" y="18"/>
                    <a:pt x="77" y="10"/>
                    <a:pt x="67" y="10"/>
                  </a:cubicBezTo>
                  <a:cubicBezTo>
                    <a:pt x="58" y="10"/>
                    <a:pt x="50" y="18"/>
                    <a:pt x="50" y="27"/>
                  </a:cubicBezTo>
                  <a:cubicBezTo>
                    <a:pt x="50" y="32"/>
                    <a:pt x="53" y="36"/>
                    <a:pt x="56" y="39"/>
                  </a:cubicBezTo>
                  <a:cubicBezTo>
                    <a:pt x="44" y="42"/>
                    <a:pt x="44" y="42"/>
                    <a:pt x="44" y="42"/>
                  </a:cubicBezTo>
                  <a:cubicBezTo>
                    <a:pt x="44" y="42"/>
                    <a:pt x="44" y="42"/>
                    <a:pt x="44" y="42"/>
                  </a:cubicBezTo>
                  <a:cubicBezTo>
                    <a:pt x="45" y="41"/>
                    <a:pt x="45" y="39"/>
                    <a:pt x="45" y="37"/>
                  </a:cubicBezTo>
                  <a:cubicBezTo>
                    <a:pt x="45" y="28"/>
                    <a:pt x="37" y="20"/>
                    <a:pt x="28" y="20"/>
                  </a:cubicBezTo>
                  <a:cubicBezTo>
                    <a:pt x="19" y="20"/>
                    <a:pt x="11" y="28"/>
                    <a:pt x="11" y="37"/>
                  </a:cubicBezTo>
                  <a:cubicBezTo>
                    <a:pt x="11" y="42"/>
                    <a:pt x="14" y="47"/>
                    <a:pt x="17" y="50"/>
                  </a:cubicBezTo>
                  <a:cubicBezTo>
                    <a:pt x="17" y="50"/>
                    <a:pt x="17" y="50"/>
                    <a:pt x="17" y="50"/>
                  </a:cubicBezTo>
                  <a:cubicBezTo>
                    <a:pt x="13" y="51"/>
                    <a:pt x="13" y="51"/>
                    <a:pt x="13" y="51"/>
                  </a:cubicBezTo>
                  <a:cubicBezTo>
                    <a:pt x="0" y="54"/>
                    <a:pt x="1" y="69"/>
                    <a:pt x="1" y="69"/>
                  </a:cubicBezTo>
                  <a:cubicBezTo>
                    <a:pt x="1" y="202"/>
                    <a:pt x="1" y="202"/>
                    <a:pt x="1" y="202"/>
                  </a:cubicBezTo>
                  <a:cubicBezTo>
                    <a:pt x="21" y="202"/>
                    <a:pt x="21" y="202"/>
                    <a:pt x="21" y="202"/>
                  </a:cubicBezTo>
                  <a:cubicBezTo>
                    <a:pt x="23" y="80"/>
                    <a:pt x="23" y="80"/>
                    <a:pt x="23" y="80"/>
                  </a:cubicBezTo>
                  <a:cubicBezTo>
                    <a:pt x="23" y="80"/>
                    <a:pt x="22" y="71"/>
                    <a:pt x="29" y="70"/>
                  </a:cubicBezTo>
                  <a:cubicBezTo>
                    <a:pt x="56" y="63"/>
                    <a:pt x="88" y="54"/>
                    <a:pt x="88" y="54"/>
                  </a:cubicBezTo>
                  <a:cubicBezTo>
                    <a:pt x="99" y="51"/>
                    <a:pt x="110" y="49"/>
                    <a:pt x="121" y="49"/>
                  </a:cubicBezTo>
                  <a:cubicBezTo>
                    <a:pt x="177" y="49"/>
                    <a:pt x="221" y="91"/>
                    <a:pt x="221" y="142"/>
                  </a:cubicBezTo>
                  <a:cubicBezTo>
                    <a:pt x="221" y="147"/>
                    <a:pt x="221" y="152"/>
                    <a:pt x="220" y="157"/>
                  </a:cubicBezTo>
                  <a:cubicBezTo>
                    <a:pt x="220" y="157"/>
                    <a:pt x="220" y="157"/>
                    <a:pt x="220" y="157"/>
                  </a:cubicBezTo>
                  <a:cubicBezTo>
                    <a:pt x="212" y="214"/>
                    <a:pt x="212" y="214"/>
                    <a:pt x="212" y="214"/>
                  </a:cubicBezTo>
                  <a:cubicBezTo>
                    <a:pt x="232" y="216"/>
                    <a:pt x="232" y="216"/>
                    <a:pt x="232" y="216"/>
                  </a:cubicBezTo>
                  <a:cubicBezTo>
                    <a:pt x="233" y="206"/>
                    <a:pt x="235" y="197"/>
                    <a:pt x="236" y="189"/>
                  </a:cubicBezTo>
                  <a:cubicBezTo>
                    <a:pt x="236" y="189"/>
                    <a:pt x="236" y="189"/>
                    <a:pt x="236" y="189"/>
                  </a:cubicBezTo>
                  <a:cubicBezTo>
                    <a:pt x="239" y="192"/>
                    <a:pt x="243" y="194"/>
                    <a:pt x="247" y="194"/>
                  </a:cubicBezTo>
                  <a:cubicBezTo>
                    <a:pt x="256" y="194"/>
                    <a:pt x="264" y="186"/>
                    <a:pt x="264" y="177"/>
                  </a:cubicBezTo>
                  <a:cubicBezTo>
                    <a:pt x="264" y="167"/>
                    <a:pt x="256" y="160"/>
                    <a:pt x="247" y="1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2" name="Title 1"/>
          <p:cNvSpPr>
            <a:spLocks noGrp="1"/>
          </p:cNvSpPr>
          <p:nvPr>
            <p:ph type="ctrTitle"/>
          </p:nvPr>
        </p:nvSpPr>
        <p:spPr>
          <a:xfrm>
            <a:off x="836818" y="3003688"/>
            <a:ext cx="6224133" cy="903912"/>
          </a:xfrm>
        </p:spPr>
        <p:txBody>
          <a:bodyPr wrap="square" lIns="216000" tIns="33057" rIns="216000" bIns="33057">
            <a:spAutoFit/>
          </a:bodyPr>
          <a:lstStyle>
            <a:lvl1pPr marL="90482" indent="0" algn="l">
              <a:defRPr sz="3200" b="1">
                <a:solidFill>
                  <a:schemeClr val="bg1"/>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113" name="Subtitle 2"/>
          <p:cNvSpPr>
            <a:spLocks noGrp="1"/>
          </p:cNvSpPr>
          <p:nvPr>
            <p:ph type="subTitle" idx="1"/>
          </p:nvPr>
        </p:nvSpPr>
        <p:spPr>
          <a:xfrm>
            <a:off x="853142" y="3834472"/>
            <a:ext cx="4752000" cy="694169"/>
          </a:xfrm>
        </p:spPr>
        <p:txBody>
          <a:bodyPr wrap="square" lIns="216000" tIns="144000" rIns="216000" bIns="324000">
            <a:spAutoFit/>
          </a:bodyPr>
          <a:lstStyle>
            <a:lvl1pPr marL="90482" indent="0" algn="l">
              <a:buNone/>
              <a:defRPr sz="1600" b="0">
                <a:solidFill>
                  <a:schemeClr val="bg1"/>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en-US" smtClean="0"/>
              <a:t>Click to edit Master subtitle style</a:t>
            </a:r>
            <a:endParaRPr lang="fr-FR" dirty="0" smtClean="0"/>
          </a:p>
        </p:txBody>
      </p:sp>
      <p:sp>
        <p:nvSpPr>
          <p:cNvPr id="114" name="Text Placeholder 27"/>
          <p:cNvSpPr>
            <a:spLocks noGrp="1"/>
          </p:cNvSpPr>
          <p:nvPr>
            <p:ph type="body" sz="quarter" idx="12" hasCustomPrompt="1"/>
          </p:nvPr>
        </p:nvSpPr>
        <p:spPr>
          <a:xfrm>
            <a:off x="853336" y="4216863"/>
            <a:ext cx="4752000" cy="388987"/>
          </a:xfrm>
        </p:spPr>
        <p:txBody>
          <a:bodyPr lIns="306000" tIns="144000" rIns="216000" bIns="324000"/>
          <a:lstStyle>
            <a:lvl1pPr marL="0" indent="0">
              <a:buNone/>
              <a:defRPr lang="en-GB" sz="1600" b="0" kern="1200" dirty="0">
                <a:solidFill>
                  <a:schemeClr val="bg1"/>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vl2pPr marL="174625" indent="0">
              <a:buNone/>
              <a:defRPr/>
            </a:lvl2pPr>
            <a:lvl3pPr marL="371475" indent="0">
              <a:buNone/>
              <a:defRPr/>
            </a:lvl3pPr>
            <a:lvl4pPr marL="546100" indent="0">
              <a:buNone/>
              <a:defRPr/>
            </a:lvl4pPr>
            <a:lvl5pPr marL="1415961" indent="0">
              <a:buNone/>
              <a:defRPr/>
            </a:lvl5pPr>
          </a:lstStyle>
          <a:p>
            <a:pPr lvl="0"/>
            <a:r>
              <a:rPr lang="en-US" dirty="0" smtClean="0"/>
              <a:t>Click to add author</a:t>
            </a:r>
            <a:endParaRPr lang="en-GB" dirty="0"/>
          </a:p>
        </p:txBody>
      </p:sp>
      <p:sp>
        <p:nvSpPr>
          <p:cNvPr id="115" name="Text Placeholder 27"/>
          <p:cNvSpPr>
            <a:spLocks noGrp="1"/>
          </p:cNvSpPr>
          <p:nvPr>
            <p:ph type="body" sz="quarter" idx="13" hasCustomPrompt="1"/>
          </p:nvPr>
        </p:nvSpPr>
        <p:spPr>
          <a:xfrm>
            <a:off x="860852" y="4626790"/>
            <a:ext cx="4751097" cy="388987"/>
          </a:xfrm>
        </p:spPr>
        <p:txBody>
          <a:bodyPr lIns="306000" tIns="144000" rIns="216000" bIns="324000"/>
          <a:lstStyle>
            <a:lvl1pPr marL="0" indent="0">
              <a:buNone/>
              <a:defRPr lang="en-GB" sz="1600" b="0" kern="1200" dirty="0">
                <a:solidFill>
                  <a:schemeClr val="bg1"/>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vl2pPr marL="174625" indent="0">
              <a:buNone/>
              <a:defRPr/>
            </a:lvl2pPr>
            <a:lvl3pPr marL="371475" indent="0">
              <a:buNone/>
              <a:defRPr/>
            </a:lvl3pPr>
            <a:lvl4pPr marL="546100" indent="0">
              <a:buNone/>
              <a:defRPr/>
            </a:lvl4pPr>
            <a:lvl5pPr marL="1415961" indent="0">
              <a:buNone/>
              <a:defRPr/>
            </a:lvl5pPr>
          </a:lstStyle>
          <a:p>
            <a:pPr lvl="0"/>
            <a:r>
              <a:rPr lang="en-US" dirty="0" smtClean="0"/>
              <a:t>Click to insert date</a:t>
            </a:r>
            <a:endParaRPr lang="en-GB" dirty="0"/>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52" y="224769"/>
            <a:ext cx="3679629" cy="1492023"/>
          </a:xfrm>
          <a:prstGeom prst="rect">
            <a:avLst/>
          </a:prstGeom>
        </p:spPr>
      </p:pic>
    </p:spTree>
    <p:extLst>
      <p:ext uri="{BB962C8B-B14F-4D97-AF65-F5344CB8AC3E}">
        <p14:creationId xmlns:p14="http://schemas.microsoft.com/office/powerpoint/2010/main" val="1858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of Confidentiality">
    <p:spTree>
      <p:nvGrpSpPr>
        <p:cNvPr id="1" name=""/>
        <p:cNvGrpSpPr/>
        <p:nvPr/>
      </p:nvGrpSpPr>
      <p:grpSpPr>
        <a:xfrm>
          <a:off x="0" y="0"/>
          <a:ext cx="0" cy="0"/>
          <a:chOff x="0" y="0"/>
          <a:chExt cx="0" cy="0"/>
        </a:xfrm>
      </p:grpSpPr>
      <p:sp>
        <p:nvSpPr>
          <p:cNvPr id="3" name="Rectangle 2"/>
          <p:cNvSpPr/>
          <p:nvPr userDrawn="1"/>
        </p:nvSpPr>
        <p:spPr>
          <a:xfrm>
            <a:off x="272480" y="1843951"/>
            <a:ext cx="9361040" cy="1446550"/>
          </a:xfrm>
          <a:prstGeom prst="rect">
            <a:avLst/>
          </a:prstGeom>
          <a:noFill/>
        </p:spPr>
        <p:txBody>
          <a:bodyPr wrap="square">
            <a:spAutoFit/>
          </a:bodyPr>
          <a:lstStyle/>
          <a:p>
            <a:pPr marL="0" marR="0" indent="0" algn="ctr" defTabSz="957756" rtl="0" eaLnBrk="1" fontAlgn="auto" latinLnBrk="0" hangingPunct="1">
              <a:lnSpc>
                <a:spcPct val="100000"/>
              </a:lnSpc>
              <a:spcBef>
                <a:spcPts val="0"/>
              </a:spcBef>
              <a:spcAft>
                <a:spcPts val="0"/>
              </a:spcAft>
              <a:buClrTx/>
              <a:buSzTx/>
              <a:buFontTx/>
              <a:buNone/>
              <a:tabLst/>
              <a:defRPr/>
            </a:pPr>
            <a:r>
              <a:rPr lang="en-GB" sz="2000" b="1" kern="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ement of Confidentiality</a:t>
            </a:r>
          </a:p>
          <a:p>
            <a:pPr algn="ctr"/>
            <a:endParaRPr lang="en-GB" sz="20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ctr"/>
            <a:r>
              <a:rPr lang="en-GB" sz="16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HM Revenue</a:t>
            </a:r>
            <a:r>
              <a:rPr lang="en-GB" sz="160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mp; Customs </a:t>
            </a:r>
            <a:r>
              <a:rPr lang="en-GB" sz="16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2017. </a:t>
            </a:r>
          </a:p>
          <a:p>
            <a:pPr algn="ctr"/>
            <a:endParaRPr lang="en-GB" sz="16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r>
              <a:rPr lang="en-GB" sz="16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ll rights reserved. Capgemini and the Capgemini logo are trademarks of Capgemini SA.</a:t>
            </a:r>
          </a:p>
        </p:txBody>
      </p:sp>
      <p:sp>
        <p:nvSpPr>
          <p:cNvPr id="6" name="Text Placeholder 5"/>
          <p:cNvSpPr>
            <a:spLocks noGrp="1"/>
          </p:cNvSpPr>
          <p:nvPr>
            <p:ph type="body" sz="quarter" idx="10" hasCustomPrompt="1"/>
          </p:nvPr>
        </p:nvSpPr>
        <p:spPr>
          <a:xfrm>
            <a:off x="415925" y="1412875"/>
            <a:ext cx="4752975" cy="431800"/>
          </a:xfrm>
        </p:spPr>
        <p:txBody>
          <a:bodyPr/>
          <a:lstStyle>
            <a:lvl1pPr marL="0" indent="0">
              <a:buNone/>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sz="1200" dirty="0" smtClean="0"/>
              <a:t>The Statement of Confidentiality is mandatory and must appear in all documents</a:t>
            </a:r>
            <a:endParaRPr lang="en-GB" dirty="0"/>
          </a:p>
        </p:txBody>
      </p:sp>
    </p:spTree>
    <p:extLst>
      <p:ext uri="{BB962C8B-B14F-4D97-AF65-F5344CB8AC3E}">
        <p14:creationId xmlns:p14="http://schemas.microsoft.com/office/powerpoint/2010/main" val="3351045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96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98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8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6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atin typeface="Verdana" panose="020B0604030504040204" pitchFamily="34" charset="0"/>
                <a:ea typeface="Verdana" panose="020B0604030504040204" pitchFamily="34" charset="0"/>
                <a:cs typeface="Verdana" panose="020B0604030504040204" pitchFamily="34" charset="0"/>
              </a:defRPr>
            </a:lvl1pPr>
            <a:lvl2pPr>
              <a:defRPr sz="16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atin typeface="Verdana" panose="020B0604030504040204" pitchFamily="34" charset="0"/>
                <a:ea typeface="Verdana" panose="020B0604030504040204" pitchFamily="34" charset="0"/>
                <a:cs typeface="Verdana" panose="020B0604030504040204" pitchFamily="34" charset="0"/>
              </a:defRPr>
            </a:lvl1pPr>
            <a:lvl2pPr>
              <a:defRPr sz="1600">
                <a:latin typeface="Verdana" panose="020B0604030504040204" pitchFamily="34" charset="0"/>
                <a:ea typeface="Verdana" panose="020B0604030504040204" pitchFamily="34" charset="0"/>
                <a:cs typeface="Verdana" panose="020B0604030504040204" pitchFamily="34" charset="0"/>
              </a:defRPr>
            </a:lvl2pPr>
            <a:lvl3pPr>
              <a:defRPr sz="14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ext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100" baseline="0">
                <a:latin typeface="Verdana" panose="020B0604030504040204" pitchFamily="34" charset="0"/>
                <a:ea typeface="Verdana" panose="020B0604030504040204" pitchFamily="34" charset="0"/>
                <a:cs typeface="Verdana" panose="020B0604030504040204" pitchFamily="34" charset="0"/>
              </a:defRPr>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100" baseline="0">
                <a:latin typeface="Verdana" panose="020B0604030504040204" pitchFamily="34" charset="0"/>
                <a:ea typeface="Verdana" panose="020B0604030504040204" pitchFamily="34" charset="0"/>
                <a:cs typeface="Verdana" panose="020B0604030504040204" pitchFamily="34" charset="0"/>
              </a:defRPr>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100" baseline="0">
                <a:latin typeface="Verdana" panose="020B0604030504040204" pitchFamily="34" charset="0"/>
                <a:ea typeface="Verdana" panose="020B0604030504040204" pitchFamily="34" charset="0"/>
                <a:cs typeface="Verdana" panose="020B0604030504040204" pitchFamily="34" charset="0"/>
              </a:defRPr>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100" baseline="0">
                <a:latin typeface="Verdana" panose="020B0604030504040204" pitchFamily="34" charset="0"/>
                <a:ea typeface="Verdana" panose="020B0604030504040204" pitchFamily="34" charset="0"/>
                <a:cs typeface="Verdana" panose="020B0604030504040204" pitchFamily="34" charset="0"/>
              </a:defRPr>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03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8"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8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 name="Text Placeholder 155673"/>
          <p:cNvSpPr>
            <a:spLocks noGrp="1" noChangeAspect="1"/>
          </p:cNvSpPr>
          <p:nvPr>
            <p:ph type="body" sz="quarter" idx="10" hasCustomPrompt="1"/>
          </p:nvPr>
        </p:nvSpPr>
        <p:spPr>
          <a:xfrm>
            <a:off x="3334668" y="1"/>
            <a:ext cx="3236664" cy="260560"/>
          </a:xfrm>
        </p:spPr>
        <p:txBody>
          <a:bodyPr anchor="ctr" anchorCtr="0">
            <a:normAutofit/>
          </a:bodyPr>
          <a:lstStyle>
            <a:lvl1pPr marL="0" indent="0" algn="ctr">
              <a:buFont typeface="Arial" pitchFamily="34" charset="0"/>
              <a:buNone/>
              <a:defRPr sz="1100" b="1" i="0" cap="all" baseline="0">
                <a:latin typeface="Verdana" panose="020B0604030504040204" pitchFamily="34" charset="0"/>
                <a:ea typeface="Verdana" panose="020B0604030504040204" pitchFamily="34" charset="0"/>
                <a:cs typeface="Verdana" panose="020B0604030504040204" pitchFamily="34" charset="0"/>
              </a:defRPr>
            </a:lvl1pPr>
            <a:lvl2pPr marL="174625" indent="0">
              <a:buNone/>
              <a:defRPr/>
            </a:lvl2pPr>
            <a:lvl3pPr marL="371475" indent="0">
              <a:buNone/>
              <a:defRPr/>
            </a:lvl3pPr>
            <a:lvl4pPr marL="546100" indent="0">
              <a:buNone/>
              <a:defRPr/>
            </a:lvl4pPr>
            <a:lvl5pPr marL="1415961" indent="0">
              <a:buNone/>
              <a:defRPr/>
            </a:lvl5pPr>
          </a:lstStyle>
          <a:p>
            <a:pPr lvl="0"/>
            <a:r>
              <a:rPr lang="en-GB" dirty="0" smtClean="0"/>
              <a:t>&lt;Classification&gt;</a:t>
            </a:r>
            <a:endParaRPr lang="en-GB" dirty="0"/>
          </a:p>
        </p:txBody>
      </p:sp>
      <p:sp>
        <p:nvSpPr>
          <p:cNvPr id="50" name="Text Placeholder 155673"/>
          <p:cNvSpPr>
            <a:spLocks noGrp="1" noChangeAspect="1"/>
          </p:cNvSpPr>
          <p:nvPr>
            <p:ph type="body" sz="quarter" idx="11" hasCustomPrompt="1"/>
          </p:nvPr>
        </p:nvSpPr>
        <p:spPr>
          <a:xfrm>
            <a:off x="3334668" y="6525344"/>
            <a:ext cx="3236664" cy="260560"/>
          </a:xfrm>
        </p:spPr>
        <p:txBody>
          <a:bodyPr anchor="ctr" anchorCtr="0">
            <a:normAutofit/>
          </a:bodyPr>
          <a:lstStyle>
            <a:lvl1pPr marL="0" indent="0" algn="ctr">
              <a:buFont typeface="Arial" pitchFamily="34" charset="0"/>
              <a:buNone/>
              <a:defRPr sz="1100" b="1" i="0" cap="all" baseline="0">
                <a:latin typeface="Verdana" panose="020B0604030504040204" pitchFamily="34" charset="0"/>
                <a:ea typeface="Verdana" panose="020B0604030504040204" pitchFamily="34" charset="0"/>
                <a:cs typeface="Verdana" panose="020B0604030504040204" pitchFamily="34" charset="0"/>
              </a:defRPr>
            </a:lvl1pPr>
            <a:lvl2pPr marL="174625" indent="0">
              <a:buNone/>
              <a:defRPr/>
            </a:lvl2pPr>
            <a:lvl3pPr marL="371475" indent="0">
              <a:buNone/>
              <a:defRPr/>
            </a:lvl3pPr>
            <a:lvl4pPr marL="546100" indent="0">
              <a:buNone/>
              <a:defRPr/>
            </a:lvl4pPr>
            <a:lvl5pPr marL="1415961" indent="0">
              <a:buNone/>
              <a:defRPr/>
            </a:lvl5pPr>
          </a:lstStyle>
          <a:p>
            <a:pPr lvl="0"/>
            <a:r>
              <a:rPr lang="en-GB" dirty="0" smtClean="0"/>
              <a:t>&lt;Classification&gt;</a:t>
            </a:r>
            <a:endParaRPr lang="en-GB" dirty="0"/>
          </a:p>
        </p:txBody>
      </p:sp>
    </p:spTree>
    <p:extLst>
      <p:ext uri="{BB962C8B-B14F-4D97-AF65-F5344CB8AC3E}">
        <p14:creationId xmlns:p14="http://schemas.microsoft.com/office/powerpoint/2010/main" val="190687785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ocument Control">
    <p:spTree>
      <p:nvGrpSpPr>
        <p:cNvPr id="1" name=""/>
        <p:cNvGrpSpPr/>
        <p:nvPr/>
      </p:nvGrpSpPr>
      <p:grpSpPr>
        <a:xfrm>
          <a:off x="0" y="0"/>
          <a:ext cx="0" cy="0"/>
          <a:chOff x="0" y="0"/>
          <a:chExt cx="0" cy="0"/>
        </a:xfrm>
      </p:grpSpPr>
      <p:sp>
        <p:nvSpPr>
          <p:cNvPr id="39" name="TextBox 38"/>
          <p:cNvSpPr txBox="1"/>
          <p:nvPr userDrawn="1"/>
        </p:nvSpPr>
        <p:spPr>
          <a:xfrm>
            <a:off x="128330" y="332570"/>
            <a:ext cx="5328740" cy="584775"/>
          </a:xfrm>
          <a:prstGeom prst="rect">
            <a:avLst/>
          </a:prstGeom>
          <a:noFill/>
        </p:spPr>
        <p:txBody>
          <a:bodyPr wrap="square" rtlCol="0">
            <a:spAutoFit/>
          </a:bodyPr>
          <a:lstStyle/>
          <a:p>
            <a:r>
              <a:rPr lang="en-GB" sz="3200" b="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ocument Control</a:t>
            </a:r>
          </a:p>
        </p:txBody>
      </p:sp>
      <p:sp>
        <p:nvSpPr>
          <p:cNvPr id="5" name="Text Placeholder 4"/>
          <p:cNvSpPr>
            <a:spLocks noGrp="1"/>
          </p:cNvSpPr>
          <p:nvPr>
            <p:ph type="body" sz="quarter" idx="10" hasCustomPrompt="1"/>
          </p:nvPr>
        </p:nvSpPr>
        <p:spPr>
          <a:xfrm>
            <a:off x="415924" y="1484313"/>
            <a:ext cx="7273379" cy="576262"/>
          </a:xfrm>
        </p:spPr>
        <p:txBody>
          <a:bodyPr/>
          <a:lstStyle>
            <a:lvl1pPr marL="0" indent="0">
              <a:buNone/>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174625" indent="0">
              <a:buNone/>
              <a:defRPr sz="1600"/>
            </a:lvl2pPr>
            <a:lvl3pPr marL="371475" indent="0">
              <a:buNone/>
              <a:defRPr sz="1400"/>
            </a:lvl3pPr>
            <a:lvl4pPr marL="546100" indent="0">
              <a:buNone/>
              <a:defRPr sz="1200"/>
            </a:lvl4pPr>
            <a:lvl5pPr marL="1415961" indent="0">
              <a:buNone/>
              <a:defRPr sz="1600"/>
            </a:lvl5pPr>
          </a:lstStyle>
          <a:p>
            <a:pPr lvl="0"/>
            <a:r>
              <a:rPr lang="en-GB" dirty="0" smtClean="0"/>
              <a:t>Required for Controlled Documents only</a:t>
            </a:r>
            <a:endParaRPr lang="en-GB" dirty="0"/>
          </a:p>
        </p:txBody>
      </p:sp>
    </p:spTree>
    <p:extLst>
      <p:ext uri="{BB962C8B-B14F-4D97-AF65-F5344CB8AC3E}">
        <p14:creationId xmlns:p14="http://schemas.microsoft.com/office/powerpoint/2010/main" val="39917524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37" name="think-cell Slide" r:id="rId19" imgW="360" imgH="360" progId="">
                  <p:embed/>
                </p:oleObj>
              </mc:Choice>
              <mc:Fallback>
                <p:oleObj name="think-cell Slide" r:id="rId19" imgW="360" imgH="360" progId="">
                  <p:embed/>
                  <p:pic>
                    <p:nvPicPr>
                      <p:cNvPr id="0" name="Picture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260560"/>
            <a:ext cx="9905999" cy="741575"/>
          </a:xfrm>
          <a:prstGeom prst="rect">
            <a:avLst/>
          </a:prstGeom>
        </p:spPr>
        <p:txBody>
          <a:bodyPr vert="horz" lIns="297529" tIns="33059" rIns="165294" bIns="33059" rtlCol="0" anchor="ctr">
            <a:noAutofit/>
          </a:bodyPr>
          <a:lstStyle/>
          <a:p>
            <a:r>
              <a:rPr lang="fr-FR" noProof="0" dirty="0" smtClean="0"/>
              <a:t>Click to edit Master titl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13" name="Rectangle 12"/>
          <p:cNvSpPr/>
          <p:nvPr>
            <p:custDataLst>
              <p:tags r:id="rId17"/>
            </p:custDataLst>
          </p:nvPr>
        </p:nvSpPr>
        <p:spPr>
          <a:xfrm>
            <a:off x="7763543" y="6427223"/>
            <a:ext cx="1914554" cy="195814"/>
          </a:xfrm>
          <a:prstGeom prst="rect">
            <a:avLst/>
          </a:prstGeom>
        </p:spPr>
        <p:txBody>
          <a:bodyPr wrap="none" lIns="35997" tIns="35997" rIns="35997" bIns="35997" anchor="b" anchorCtr="0">
            <a:noAutofit/>
          </a:bodyPr>
          <a:lstStyle/>
          <a:p>
            <a:pPr algn="r"/>
            <a:fld id="{A2E3F635-A670-44CA-B50D-8F47F83C1A42}" type="datetime1">
              <a:rPr lang="en-GB" sz="700" smtClean="0">
                <a:solidFill>
                  <a:schemeClr val="tx2"/>
                </a:solidFill>
                <a:latin typeface="+mj-lt"/>
              </a:rPr>
              <a:t>08/10/2018</a:t>
            </a:fld>
            <a:endParaRPr lang="en-US" sz="700" dirty="0">
              <a:solidFill>
                <a:schemeClr val="tx2"/>
              </a:solidFill>
              <a:latin typeface="+mj-lt"/>
            </a:endParaRP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75" name="Text Placeholder 155673"/>
          <p:cNvSpPr txBox="1">
            <a:spLocks noChangeAspect="1"/>
          </p:cNvSpPr>
          <p:nvPr/>
        </p:nvSpPr>
        <p:spPr>
          <a:xfrm>
            <a:off x="3334668" y="6525344"/>
            <a:ext cx="3236664" cy="260560"/>
          </a:xfrm>
          <a:prstGeom prst="rect">
            <a:avLst/>
          </a:prstGeom>
        </p:spPr>
        <p:txBody>
          <a:bodyPr anchor="ctr" anchorCtr="0">
            <a:normAutofit/>
          </a:bodyPr>
          <a:lstStyle>
            <a:lvl1pPr marL="0" indent="0" algn="ctr" defTabSz="914342" rtl="0" eaLnBrk="1" latinLnBrk="0" hangingPunct="1">
              <a:lnSpc>
                <a:spcPct val="90000"/>
              </a:lnSpc>
              <a:spcBef>
                <a:spcPts val="0"/>
              </a:spcBef>
              <a:spcAft>
                <a:spcPts val="600"/>
              </a:spcAft>
              <a:buClr>
                <a:schemeClr val="accent5"/>
              </a:buClr>
              <a:buFont typeface="Arial" pitchFamily="34" charset="0"/>
              <a:buNone/>
              <a:defRPr sz="1100" b="1" i="0" kern="1200" cap="all" baseline="0">
                <a:solidFill>
                  <a:schemeClr val="tx2">
                    <a:lumMod val="50000"/>
                  </a:schemeClr>
                </a:solidFill>
                <a:latin typeface="+mn-lt"/>
                <a:ea typeface="+mn-ea"/>
                <a:cs typeface="+mn-cs"/>
              </a:defRPr>
            </a:lvl1pPr>
            <a:lvl2pPr marL="174625" indent="0" algn="l" defTabSz="914342" rtl="0" eaLnBrk="1" latinLnBrk="0" hangingPunct="1">
              <a:lnSpc>
                <a:spcPct val="90000"/>
              </a:lnSpc>
              <a:spcBef>
                <a:spcPts val="0"/>
              </a:spcBef>
              <a:spcAft>
                <a:spcPts val="600"/>
              </a:spcAft>
              <a:buClr>
                <a:schemeClr val="accent3"/>
              </a:buClr>
              <a:buFont typeface="Wingdings" pitchFamily="2" charset="2"/>
              <a:buNone/>
              <a:defRPr sz="1800" kern="1200">
                <a:solidFill>
                  <a:schemeClr val="tx2">
                    <a:lumMod val="50000"/>
                  </a:schemeClr>
                </a:solidFill>
                <a:latin typeface="+mn-lt"/>
                <a:ea typeface="+mn-ea"/>
                <a:cs typeface="+mn-cs"/>
              </a:defRPr>
            </a:lvl2pPr>
            <a:lvl3pPr marL="371475" indent="0" algn="l" defTabSz="914342" rtl="0" eaLnBrk="1" latinLnBrk="0" hangingPunct="1">
              <a:lnSpc>
                <a:spcPct val="90000"/>
              </a:lnSpc>
              <a:spcBef>
                <a:spcPts val="0"/>
              </a:spcBef>
              <a:spcAft>
                <a:spcPts val="600"/>
              </a:spcAft>
              <a:buClr>
                <a:schemeClr val="accent2"/>
              </a:buClr>
              <a:buFont typeface="Arial" pitchFamily="34" charset="0"/>
              <a:buNone/>
              <a:tabLst/>
              <a:defRPr sz="1600" kern="1200">
                <a:solidFill>
                  <a:schemeClr val="tx2">
                    <a:lumMod val="50000"/>
                  </a:schemeClr>
                </a:solidFill>
                <a:latin typeface="+mn-lt"/>
                <a:ea typeface="+mn-ea"/>
                <a:cs typeface="+mn-cs"/>
              </a:defRPr>
            </a:lvl3pPr>
            <a:lvl4pPr marL="546100" indent="0" algn="l" defTabSz="914342" rtl="0" eaLnBrk="1" latinLnBrk="0" hangingPunct="1">
              <a:lnSpc>
                <a:spcPct val="90000"/>
              </a:lnSpc>
              <a:spcBef>
                <a:spcPts val="0"/>
              </a:spcBef>
              <a:spcAft>
                <a:spcPts val="600"/>
              </a:spcAft>
              <a:buClr>
                <a:schemeClr val="bg2"/>
              </a:buClr>
              <a:buFont typeface="Arial" pitchFamily="34" charset="0"/>
              <a:buNone/>
              <a:tabLst/>
              <a:defRPr sz="1400" kern="1200">
                <a:solidFill>
                  <a:schemeClr val="tx2">
                    <a:lumMod val="50000"/>
                  </a:schemeClr>
                </a:solidFill>
                <a:latin typeface="+mn-lt"/>
                <a:ea typeface="+mn-ea"/>
                <a:cs typeface="+mn-cs"/>
              </a:defRPr>
            </a:lvl4pPr>
            <a:lvl5pPr marL="1415961" indent="0"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ctr" defTabSz="914342" rtl="0" eaLnBrk="1" fontAlgn="auto" latinLnBrk="0" hangingPunct="1">
              <a:lnSpc>
                <a:spcPct val="90000"/>
              </a:lnSpc>
              <a:spcBef>
                <a:spcPts val="0"/>
              </a:spcBef>
              <a:spcAft>
                <a:spcPts val="600"/>
              </a:spcAft>
              <a:buClr>
                <a:schemeClr val="accent5"/>
              </a:buClr>
              <a:buSzTx/>
              <a:buFont typeface="Arial" pitchFamily="34" charset="0"/>
              <a:buNone/>
              <a:tabLst/>
              <a:defRPr/>
            </a:pPr>
            <a:r>
              <a:rPr lang="en-GB" dirty="0" smtClean="0"/>
              <a:t>OFFICIAL</a:t>
            </a:r>
          </a:p>
        </p:txBody>
      </p:sp>
      <p:sp>
        <p:nvSpPr>
          <p:cNvPr id="76" name="Text Placeholder 155673"/>
          <p:cNvSpPr txBox="1">
            <a:spLocks noChangeAspect="1"/>
          </p:cNvSpPr>
          <p:nvPr/>
        </p:nvSpPr>
        <p:spPr>
          <a:xfrm>
            <a:off x="3334668" y="1"/>
            <a:ext cx="3236664" cy="260560"/>
          </a:xfrm>
          <a:prstGeom prst="rect">
            <a:avLst/>
          </a:prstGeom>
        </p:spPr>
        <p:txBody>
          <a:bodyPr anchor="ctr" anchorCtr="0">
            <a:normAutofit/>
          </a:bodyPr>
          <a:lstStyle>
            <a:lvl1pPr marL="0" indent="0" algn="ctr" defTabSz="914342" rtl="0" eaLnBrk="1" latinLnBrk="0" hangingPunct="1">
              <a:lnSpc>
                <a:spcPct val="90000"/>
              </a:lnSpc>
              <a:spcBef>
                <a:spcPts val="0"/>
              </a:spcBef>
              <a:spcAft>
                <a:spcPts val="600"/>
              </a:spcAft>
              <a:buClr>
                <a:schemeClr val="accent5"/>
              </a:buClr>
              <a:buFont typeface="Arial" pitchFamily="34" charset="0"/>
              <a:buNone/>
              <a:defRPr sz="1100" b="1" i="0" kern="1200" cap="all" baseline="0">
                <a:solidFill>
                  <a:schemeClr val="tx2">
                    <a:lumMod val="50000"/>
                  </a:schemeClr>
                </a:solidFill>
                <a:latin typeface="+mn-lt"/>
                <a:ea typeface="+mn-ea"/>
                <a:cs typeface="+mn-cs"/>
              </a:defRPr>
            </a:lvl1pPr>
            <a:lvl2pPr marL="174625" indent="0" algn="l" defTabSz="914342" rtl="0" eaLnBrk="1" latinLnBrk="0" hangingPunct="1">
              <a:lnSpc>
                <a:spcPct val="90000"/>
              </a:lnSpc>
              <a:spcBef>
                <a:spcPts val="0"/>
              </a:spcBef>
              <a:spcAft>
                <a:spcPts val="600"/>
              </a:spcAft>
              <a:buClr>
                <a:schemeClr val="accent3"/>
              </a:buClr>
              <a:buFont typeface="Wingdings" pitchFamily="2" charset="2"/>
              <a:buNone/>
              <a:defRPr sz="1800" kern="1200">
                <a:solidFill>
                  <a:schemeClr val="tx2">
                    <a:lumMod val="50000"/>
                  </a:schemeClr>
                </a:solidFill>
                <a:latin typeface="+mn-lt"/>
                <a:ea typeface="+mn-ea"/>
                <a:cs typeface="+mn-cs"/>
              </a:defRPr>
            </a:lvl2pPr>
            <a:lvl3pPr marL="371475" indent="0" algn="l" defTabSz="914342" rtl="0" eaLnBrk="1" latinLnBrk="0" hangingPunct="1">
              <a:lnSpc>
                <a:spcPct val="90000"/>
              </a:lnSpc>
              <a:spcBef>
                <a:spcPts val="0"/>
              </a:spcBef>
              <a:spcAft>
                <a:spcPts val="600"/>
              </a:spcAft>
              <a:buClr>
                <a:schemeClr val="accent2"/>
              </a:buClr>
              <a:buFont typeface="Arial" pitchFamily="34" charset="0"/>
              <a:buNone/>
              <a:tabLst/>
              <a:defRPr sz="1600" kern="1200">
                <a:solidFill>
                  <a:schemeClr val="tx2">
                    <a:lumMod val="50000"/>
                  </a:schemeClr>
                </a:solidFill>
                <a:latin typeface="+mn-lt"/>
                <a:ea typeface="+mn-ea"/>
                <a:cs typeface="+mn-cs"/>
              </a:defRPr>
            </a:lvl3pPr>
            <a:lvl4pPr marL="546100" indent="0" algn="l" defTabSz="914342" rtl="0" eaLnBrk="1" latinLnBrk="0" hangingPunct="1">
              <a:lnSpc>
                <a:spcPct val="90000"/>
              </a:lnSpc>
              <a:spcBef>
                <a:spcPts val="0"/>
              </a:spcBef>
              <a:spcAft>
                <a:spcPts val="600"/>
              </a:spcAft>
              <a:buClr>
                <a:schemeClr val="bg2"/>
              </a:buClr>
              <a:buFont typeface="Arial" pitchFamily="34" charset="0"/>
              <a:buNone/>
              <a:tabLst/>
              <a:defRPr sz="1400" kern="1200">
                <a:solidFill>
                  <a:schemeClr val="tx2">
                    <a:lumMod val="50000"/>
                  </a:schemeClr>
                </a:solidFill>
                <a:latin typeface="+mn-lt"/>
                <a:ea typeface="+mn-ea"/>
                <a:cs typeface="+mn-cs"/>
              </a:defRPr>
            </a:lvl4pPr>
            <a:lvl5pPr marL="1415961" indent="0"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ctr" defTabSz="914342" rtl="0" eaLnBrk="1" fontAlgn="auto" latinLnBrk="0" hangingPunct="1">
              <a:lnSpc>
                <a:spcPct val="90000"/>
              </a:lnSpc>
              <a:spcBef>
                <a:spcPts val="0"/>
              </a:spcBef>
              <a:spcAft>
                <a:spcPts val="600"/>
              </a:spcAft>
              <a:buClr>
                <a:schemeClr val="accent5"/>
              </a:buClr>
              <a:buSzTx/>
              <a:buFont typeface="Arial" pitchFamily="34" charset="0"/>
              <a:buNone/>
              <a:tabLst/>
              <a:defRPr/>
            </a:pPr>
            <a:r>
              <a:rPr lang="en-GB" dirty="0" smtClean="0"/>
              <a:t>OFFICIAL</a:t>
            </a:r>
          </a:p>
        </p:txBody>
      </p:sp>
      <p:grpSp>
        <p:nvGrpSpPr>
          <p:cNvPr id="48" name="Group 22"/>
          <p:cNvGrpSpPr>
            <a:grpSpLocks noChangeAspect="1"/>
          </p:cNvGrpSpPr>
          <p:nvPr/>
        </p:nvGrpSpPr>
        <p:grpSpPr bwMode="auto">
          <a:xfrm>
            <a:off x="1246454" y="6495778"/>
            <a:ext cx="414706" cy="250197"/>
            <a:chOff x="4430" y="293"/>
            <a:chExt cx="905" cy="546"/>
          </a:xfrm>
        </p:grpSpPr>
        <p:sp>
          <p:nvSpPr>
            <p:cNvPr id="49" name="AutoShape 21"/>
            <p:cNvSpPr>
              <a:spLocks noChangeAspect="1" noChangeArrowheads="1" noTextEdit="1"/>
            </p:cNvSpPr>
            <p:nvPr userDrawn="1"/>
          </p:nvSpPr>
          <p:spPr bwMode="auto">
            <a:xfrm>
              <a:off x="4430" y="293"/>
              <a:ext cx="904" cy="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23"/>
            <p:cNvSpPr>
              <a:spLocks/>
            </p:cNvSpPr>
            <p:nvPr userDrawn="1"/>
          </p:nvSpPr>
          <p:spPr bwMode="auto">
            <a:xfrm>
              <a:off x="4498" y="578"/>
              <a:ext cx="86" cy="108"/>
            </a:xfrm>
            <a:custGeom>
              <a:avLst/>
              <a:gdLst>
                <a:gd name="T0" fmla="*/ 0 w 86"/>
                <a:gd name="T1" fmla="*/ 108 h 108"/>
                <a:gd name="T2" fmla="*/ 15 w 86"/>
                <a:gd name="T3" fmla="*/ 108 h 108"/>
                <a:gd name="T4" fmla="*/ 15 w 86"/>
                <a:gd name="T5" fmla="*/ 58 h 108"/>
                <a:gd name="T6" fmla="*/ 72 w 86"/>
                <a:gd name="T7" fmla="*/ 58 h 108"/>
                <a:gd name="T8" fmla="*/ 72 w 86"/>
                <a:gd name="T9" fmla="*/ 108 h 108"/>
                <a:gd name="T10" fmla="*/ 86 w 86"/>
                <a:gd name="T11" fmla="*/ 108 h 108"/>
                <a:gd name="T12" fmla="*/ 86 w 86"/>
                <a:gd name="T13" fmla="*/ 0 h 108"/>
                <a:gd name="T14" fmla="*/ 72 w 86"/>
                <a:gd name="T15" fmla="*/ 0 h 108"/>
                <a:gd name="T16" fmla="*/ 72 w 86"/>
                <a:gd name="T17" fmla="*/ 46 h 108"/>
                <a:gd name="T18" fmla="*/ 15 w 86"/>
                <a:gd name="T19" fmla="*/ 46 h 108"/>
                <a:gd name="T20" fmla="*/ 15 w 86"/>
                <a:gd name="T21" fmla="*/ 0 h 108"/>
                <a:gd name="T22" fmla="*/ 0 w 86"/>
                <a:gd name="T23" fmla="*/ 0 h 108"/>
                <a:gd name="T24" fmla="*/ 0 w 86"/>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08">
                  <a:moveTo>
                    <a:pt x="0" y="108"/>
                  </a:moveTo>
                  <a:lnTo>
                    <a:pt x="15" y="108"/>
                  </a:lnTo>
                  <a:lnTo>
                    <a:pt x="15" y="58"/>
                  </a:lnTo>
                  <a:lnTo>
                    <a:pt x="72" y="58"/>
                  </a:lnTo>
                  <a:lnTo>
                    <a:pt x="72" y="108"/>
                  </a:lnTo>
                  <a:lnTo>
                    <a:pt x="86" y="108"/>
                  </a:lnTo>
                  <a:lnTo>
                    <a:pt x="86" y="0"/>
                  </a:lnTo>
                  <a:lnTo>
                    <a:pt x="72" y="0"/>
                  </a:lnTo>
                  <a:lnTo>
                    <a:pt x="72" y="46"/>
                  </a:lnTo>
                  <a:lnTo>
                    <a:pt x="15" y="46"/>
                  </a:lnTo>
                  <a:lnTo>
                    <a:pt x="15" y="0"/>
                  </a:lnTo>
                  <a:lnTo>
                    <a:pt x="0" y="0"/>
                  </a:lnTo>
                  <a:lnTo>
                    <a:pt x="0" y="108"/>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24"/>
            <p:cNvSpPr>
              <a:spLocks/>
            </p:cNvSpPr>
            <p:nvPr userDrawn="1"/>
          </p:nvSpPr>
          <p:spPr bwMode="auto">
            <a:xfrm>
              <a:off x="4607" y="578"/>
              <a:ext cx="106" cy="108"/>
            </a:xfrm>
            <a:custGeom>
              <a:avLst/>
              <a:gdLst>
                <a:gd name="T0" fmla="*/ 0 w 106"/>
                <a:gd name="T1" fmla="*/ 108 h 108"/>
                <a:gd name="T2" fmla="*/ 13 w 106"/>
                <a:gd name="T3" fmla="*/ 108 h 108"/>
                <a:gd name="T4" fmla="*/ 13 w 106"/>
                <a:gd name="T5" fmla="*/ 18 h 108"/>
                <a:gd name="T6" fmla="*/ 13 w 106"/>
                <a:gd name="T7" fmla="*/ 18 h 108"/>
                <a:gd name="T8" fmla="*/ 47 w 106"/>
                <a:gd name="T9" fmla="*/ 108 h 108"/>
                <a:gd name="T10" fmla="*/ 59 w 106"/>
                <a:gd name="T11" fmla="*/ 108 h 108"/>
                <a:gd name="T12" fmla="*/ 93 w 106"/>
                <a:gd name="T13" fmla="*/ 18 h 108"/>
                <a:gd name="T14" fmla="*/ 93 w 106"/>
                <a:gd name="T15" fmla="*/ 18 h 108"/>
                <a:gd name="T16" fmla="*/ 93 w 106"/>
                <a:gd name="T17" fmla="*/ 108 h 108"/>
                <a:gd name="T18" fmla="*/ 106 w 106"/>
                <a:gd name="T19" fmla="*/ 108 h 108"/>
                <a:gd name="T20" fmla="*/ 106 w 106"/>
                <a:gd name="T21" fmla="*/ 0 h 108"/>
                <a:gd name="T22" fmla="*/ 87 w 106"/>
                <a:gd name="T23" fmla="*/ 0 h 108"/>
                <a:gd name="T24" fmla="*/ 53 w 106"/>
                <a:gd name="T25" fmla="*/ 90 h 108"/>
                <a:gd name="T26" fmla="*/ 19 w 106"/>
                <a:gd name="T27" fmla="*/ 0 h 108"/>
                <a:gd name="T28" fmla="*/ 0 w 106"/>
                <a:gd name="T29" fmla="*/ 0 h 108"/>
                <a:gd name="T30" fmla="*/ 0 w 106"/>
                <a:gd name="T3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8">
                  <a:moveTo>
                    <a:pt x="0" y="108"/>
                  </a:moveTo>
                  <a:lnTo>
                    <a:pt x="13" y="108"/>
                  </a:lnTo>
                  <a:lnTo>
                    <a:pt x="13" y="18"/>
                  </a:lnTo>
                  <a:lnTo>
                    <a:pt x="13" y="18"/>
                  </a:lnTo>
                  <a:lnTo>
                    <a:pt x="47" y="108"/>
                  </a:lnTo>
                  <a:lnTo>
                    <a:pt x="59" y="108"/>
                  </a:lnTo>
                  <a:lnTo>
                    <a:pt x="93" y="18"/>
                  </a:lnTo>
                  <a:lnTo>
                    <a:pt x="93" y="18"/>
                  </a:lnTo>
                  <a:lnTo>
                    <a:pt x="93" y="108"/>
                  </a:lnTo>
                  <a:lnTo>
                    <a:pt x="106" y="108"/>
                  </a:lnTo>
                  <a:lnTo>
                    <a:pt x="106" y="0"/>
                  </a:lnTo>
                  <a:lnTo>
                    <a:pt x="87" y="0"/>
                  </a:lnTo>
                  <a:lnTo>
                    <a:pt x="53" y="90"/>
                  </a:lnTo>
                  <a:lnTo>
                    <a:pt x="19" y="0"/>
                  </a:lnTo>
                  <a:lnTo>
                    <a:pt x="0" y="0"/>
                  </a:lnTo>
                  <a:lnTo>
                    <a:pt x="0" y="108"/>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noEditPoints="1"/>
            </p:cNvSpPr>
            <p:nvPr userDrawn="1"/>
          </p:nvSpPr>
          <p:spPr bwMode="auto">
            <a:xfrm>
              <a:off x="4766" y="578"/>
              <a:ext cx="87" cy="108"/>
            </a:xfrm>
            <a:custGeom>
              <a:avLst/>
              <a:gdLst>
                <a:gd name="T0" fmla="*/ 0 w 364"/>
                <a:gd name="T1" fmla="*/ 448 h 448"/>
                <a:gd name="T2" fmla="*/ 60 w 364"/>
                <a:gd name="T3" fmla="*/ 448 h 448"/>
                <a:gd name="T4" fmla="*/ 60 w 364"/>
                <a:gd name="T5" fmla="*/ 255 h 448"/>
                <a:gd name="T6" fmla="*/ 206 w 364"/>
                <a:gd name="T7" fmla="*/ 255 h 448"/>
                <a:gd name="T8" fmla="*/ 281 w 364"/>
                <a:gd name="T9" fmla="*/ 337 h 448"/>
                <a:gd name="T10" fmla="*/ 297 w 364"/>
                <a:gd name="T11" fmla="*/ 448 h 448"/>
                <a:gd name="T12" fmla="*/ 364 w 364"/>
                <a:gd name="T13" fmla="*/ 448 h 448"/>
                <a:gd name="T14" fmla="*/ 337 w 364"/>
                <a:gd name="T15" fmla="*/ 323 h 448"/>
                <a:gd name="T16" fmla="*/ 270 w 364"/>
                <a:gd name="T17" fmla="*/ 231 h 448"/>
                <a:gd name="T18" fmla="*/ 270 w 364"/>
                <a:gd name="T19" fmla="*/ 229 h 448"/>
                <a:gd name="T20" fmla="*/ 348 w 364"/>
                <a:gd name="T21" fmla="*/ 117 h 448"/>
                <a:gd name="T22" fmla="*/ 212 w 364"/>
                <a:gd name="T23" fmla="*/ 0 h 448"/>
                <a:gd name="T24" fmla="*/ 0 w 364"/>
                <a:gd name="T25" fmla="*/ 0 h 448"/>
                <a:gd name="T26" fmla="*/ 0 w 364"/>
                <a:gd name="T27" fmla="*/ 448 h 448"/>
                <a:gd name="T28" fmla="*/ 60 w 364"/>
                <a:gd name="T29" fmla="*/ 205 h 448"/>
                <a:gd name="T30" fmla="*/ 60 w 364"/>
                <a:gd name="T31" fmla="*/ 50 h 448"/>
                <a:gd name="T32" fmla="*/ 208 w 364"/>
                <a:gd name="T33" fmla="*/ 50 h 448"/>
                <a:gd name="T34" fmla="*/ 288 w 364"/>
                <a:gd name="T35" fmla="*/ 126 h 448"/>
                <a:gd name="T36" fmla="*/ 184 w 364"/>
                <a:gd name="T37" fmla="*/ 205 h 448"/>
                <a:gd name="T38" fmla="*/ 60 w 364"/>
                <a:gd name="T39" fmla="*/ 20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4" h="448">
                  <a:moveTo>
                    <a:pt x="0" y="448"/>
                  </a:moveTo>
                  <a:cubicBezTo>
                    <a:pt x="60" y="448"/>
                    <a:pt x="60" y="448"/>
                    <a:pt x="60" y="448"/>
                  </a:cubicBezTo>
                  <a:cubicBezTo>
                    <a:pt x="60" y="255"/>
                    <a:pt x="60" y="255"/>
                    <a:pt x="60" y="255"/>
                  </a:cubicBezTo>
                  <a:cubicBezTo>
                    <a:pt x="206" y="255"/>
                    <a:pt x="206" y="255"/>
                    <a:pt x="206" y="255"/>
                  </a:cubicBezTo>
                  <a:cubicBezTo>
                    <a:pt x="264" y="255"/>
                    <a:pt x="274" y="293"/>
                    <a:pt x="281" y="337"/>
                  </a:cubicBezTo>
                  <a:cubicBezTo>
                    <a:pt x="290" y="381"/>
                    <a:pt x="280" y="429"/>
                    <a:pt x="297" y="448"/>
                  </a:cubicBezTo>
                  <a:cubicBezTo>
                    <a:pt x="364" y="448"/>
                    <a:pt x="364" y="448"/>
                    <a:pt x="364" y="448"/>
                  </a:cubicBezTo>
                  <a:cubicBezTo>
                    <a:pt x="338" y="417"/>
                    <a:pt x="341" y="368"/>
                    <a:pt x="337" y="323"/>
                  </a:cubicBezTo>
                  <a:cubicBezTo>
                    <a:pt x="333" y="279"/>
                    <a:pt x="322" y="241"/>
                    <a:pt x="270" y="231"/>
                  </a:cubicBezTo>
                  <a:cubicBezTo>
                    <a:pt x="270" y="229"/>
                    <a:pt x="270" y="229"/>
                    <a:pt x="270" y="229"/>
                  </a:cubicBezTo>
                  <a:cubicBezTo>
                    <a:pt x="324" y="214"/>
                    <a:pt x="348" y="170"/>
                    <a:pt x="348" y="117"/>
                  </a:cubicBezTo>
                  <a:cubicBezTo>
                    <a:pt x="348" y="46"/>
                    <a:pt x="296" y="0"/>
                    <a:pt x="212" y="0"/>
                  </a:cubicBezTo>
                  <a:cubicBezTo>
                    <a:pt x="0" y="0"/>
                    <a:pt x="0" y="0"/>
                    <a:pt x="0" y="0"/>
                  </a:cubicBezTo>
                  <a:lnTo>
                    <a:pt x="0" y="448"/>
                  </a:lnTo>
                  <a:close/>
                  <a:moveTo>
                    <a:pt x="60" y="205"/>
                  </a:moveTo>
                  <a:cubicBezTo>
                    <a:pt x="60" y="50"/>
                    <a:pt x="60" y="50"/>
                    <a:pt x="60" y="50"/>
                  </a:cubicBezTo>
                  <a:cubicBezTo>
                    <a:pt x="208" y="50"/>
                    <a:pt x="208" y="50"/>
                    <a:pt x="208" y="50"/>
                  </a:cubicBezTo>
                  <a:cubicBezTo>
                    <a:pt x="264" y="50"/>
                    <a:pt x="288" y="83"/>
                    <a:pt x="288" y="126"/>
                  </a:cubicBezTo>
                  <a:cubicBezTo>
                    <a:pt x="288" y="190"/>
                    <a:pt x="240" y="205"/>
                    <a:pt x="184" y="205"/>
                  </a:cubicBezTo>
                  <a:lnTo>
                    <a:pt x="60" y="20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6"/>
            <p:cNvSpPr>
              <a:spLocks noEditPoints="1"/>
            </p:cNvSpPr>
            <p:nvPr userDrawn="1"/>
          </p:nvSpPr>
          <p:spPr bwMode="auto">
            <a:xfrm>
              <a:off x="4861" y="606"/>
              <a:ext cx="72" cy="82"/>
            </a:xfrm>
            <a:custGeom>
              <a:avLst/>
              <a:gdLst>
                <a:gd name="T0" fmla="*/ 56 w 299"/>
                <a:gd name="T1" fmla="*/ 140 h 340"/>
                <a:gd name="T2" fmla="*/ 147 w 299"/>
                <a:gd name="T3" fmla="*/ 47 h 340"/>
                <a:gd name="T4" fmla="*/ 240 w 299"/>
                <a:gd name="T5" fmla="*/ 140 h 340"/>
                <a:gd name="T6" fmla="*/ 56 w 299"/>
                <a:gd name="T7" fmla="*/ 140 h 340"/>
                <a:gd name="T8" fmla="*/ 239 w 299"/>
                <a:gd name="T9" fmla="*/ 230 h 340"/>
                <a:gd name="T10" fmla="*/ 156 w 299"/>
                <a:gd name="T11" fmla="*/ 293 h 340"/>
                <a:gd name="T12" fmla="*/ 56 w 299"/>
                <a:gd name="T13" fmla="*/ 188 h 340"/>
                <a:gd name="T14" fmla="*/ 296 w 299"/>
                <a:gd name="T15" fmla="*/ 188 h 340"/>
                <a:gd name="T16" fmla="*/ 151 w 299"/>
                <a:gd name="T17" fmla="*/ 0 h 340"/>
                <a:gd name="T18" fmla="*/ 0 w 299"/>
                <a:gd name="T19" fmla="*/ 171 h 340"/>
                <a:gd name="T20" fmla="*/ 154 w 299"/>
                <a:gd name="T21" fmla="*/ 340 h 340"/>
                <a:gd name="T22" fmla="*/ 291 w 299"/>
                <a:gd name="T23" fmla="*/ 230 h 340"/>
                <a:gd name="T24" fmla="*/ 239 w 299"/>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40">
                  <a:moveTo>
                    <a:pt x="56" y="140"/>
                  </a:moveTo>
                  <a:cubicBezTo>
                    <a:pt x="59" y="90"/>
                    <a:pt x="92" y="47"/>
                    <a:pt x="147" y="47"/>
                  </a:cubicBezTo>
                  <a:cubicBezTo>
                    <a:pt x="200" y="47"/>
                    <a:pt x="238" y="89"/>
                    <a:pt x="240" y="140"/>
                  </a:cubicBezTo>
                  <a:lnTo>
                    <a:pt x="56" y="140"/>
                  </a:lnTo>
                  <a:close/>
                  <a:moveTo>
                    <a:pt x="239" y="230"/>
                  </a:moveTo>
                  <a:cubicBezTo>
                    <a:pt x="229" y="272"/>
                    <a:pt x="199" y="293"/>
                    <a:pt x="156" y="293"/>
                  </a:cubicBezTo>
                  <a:cubicBezTo>
                    <a:pt x="85" y="293"/>
                    <a:pt x="54" y="243"/>
                    <a:pt x="56" y="188"/>
                  </a:cubicBezTo>
                  <a:cubicBezTo>
                    <a:pt x="296" y="188"/>
                    <a:pt x="296" y="188"/>
                    <a:pt x="296" y="188"/>
                  </a:cubicBezTo>
                  <a:cubicBezTo>
                    <a:pt x="299" y="108"/>
                    <a:pt x="264" y="0"/>
                    <a:pt x="151" y="0"/>
                  </a:cubicBezTo>
                  <a:cubicBezTo>
                    <a:pt x="63" y="0"/>
                    <a:pt x="0" y="72"/>
                    <a:pt x="0" y="171"/>
                  </a:cubicBezTo>
                  <a:cubicBezTo>
                    <a:pt x="3" y="269"/>
                    <a:pt x="51" y="340"/>
                    <a:pt x="154" y="340"/>
                  </a:cubicBezTo>
                  <a:cubicBezTo>
                    <a:pt x="226" y="340"/>
                    <a:pt x="276" y="301"/>
                    <a:pt x="291" y="230"/>
                  </a:cubicBezTo>
                  <a:lnTo>
                    <a:pt x="239"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7"/>
            <p:cNvSpPr>
              <a:spLocks/>
            </p:cNvSpPr>
            <p:nvPr userDrawn="1"/>
          </p:nvSpPr>
          <p:spPr bwMode="auto">
            <a:xfrm>
              <a:off x="4939" y="608"/>
              <a:ext cx="71" cy="78"/>
            </a:xfrm>
            <a:custGeom>
              <a:avLst/>
              <a:gdLst>
                <a:gd name="T0" fmla="*/ 71 w 71"/>
                <a:gd name="T1" fmla="*/ 0 h 78"/>
                <a:gd name="T2" fmla="*/ 58 w 71"/>
                <a:gd name="T3" fmla="*/ 0 h 78"/>
                <a:gd name="T4" fmla="*/ 36 w 71"/>
                <a:gd name="T5" fmla="*/ 65 h 78"/>
                <a:gd name="T6" fmla="*/ 36 w 71"/>
                <a:gd name="T7" fmla="*/ 65 h 78"/>
                <a:gd name="T8" fmla="*/ 14 w 71"/>
                <a:gd name="T9" fmla="*/ 0 h 78"/>
                <a:gd name="T10" fmla="*/ 0 w 71"/>
                <a:gd name="T11" fmla="*/ 0 h 78"/>
                <a:gd name="T12" fmla="*/ 29 w 71"/>
                <a:gd name="T13" fmla="*/ 78 h 78"/>
                <a:gd name="T14" fmla="*/ 42 w 71"/>
                <a:gd name="T15" fmla="*/ 78 h 78"/>
                <a:gd name="T16" fmla="*/ 71 w 71"/>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78">
                  <a:moveTo>
                    <a:pt x="71" y="0"/>
                  </a:moveTo>
                  <a:lnTo>
                    <a:pt x="58" y="0"/>
                  </a:lnTo>
                  <a:lnTo>
                    <a:pt x="36" y="65"/>
                  </a:lnTo>
                  <a:lnTo>
                    <a:pt x="36" y="65"/>
                  </a:lnTo>
                  <a:lnTo>
                    <a:pt x="14" y="0"/>
                  </a:lnTo>
                  <a:lnTo>
                    <a:pt x="0" y="0"/>
                  </a:lnTo>
                  <a:lnTo>
                    <a:pt x="29" y="78"/>
                  </a:lnTo>
                  <a:lnTo>
                    <a:pt x="42" y="78"/>
                  </a:lnTo>
                  <a:lnTo>
                    <a:pt x="71"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8"/>
            <p:cNvSpPr>
              <a:spLocks noEditPoints="1"/>
            </p:cNvSpPr>
            <p:nvPr userDrawn="1"/>
          </p:nvSpPr>
          <p:spPr bwMode="auto">
            <a:xfrm>
              <a:off x="5016" y="606"/>
              <a:ext cx="72" cy="82"/>
            </a:xfrm>
            <a:custGeom>
              <a:avLst/>
              <a:gdLst>
                <a:gd name="T0" fmla="*/ 56 w 299"/>
                <a:gd name="T1" fmla="*/ 140 h 340"/>
                <a:gd name="T2" fmla="*/ 148 w 299"/>
                <a:gd name="T3" fmla="*/ 47 h 340"/>
                <a:gd name="T4" fmla="*/ 240 w 299"/>
                <a:gd name="T5" fmla="*/ 140 h 340"/>
                <a:gd name="T6" fmla="*/ 56 w 299"/>
                <a:gd name="T7" fmla="*/ 140 h 340"/>
                <a:gd name="T8" fmla="*/ 239 w 299"/>
                <a:gd name="T9" fmla="*/ 230 h 340"/>
                <a:gd name="T10" fmla="*/ 156 w 299"/>
                <a:gd name="T11" fmla="*/ 293 h 340"/>
                <a:gd name="T12" fmla="*/ 56 w 299"/>
                <a:gd name="T13" fmla="*/ 188 h 340"/>
                <a:gd name="T14" fmla="*/ 296 w 299"/>
                <a:gd name="T15" fmla="*/ 188 h 340"/>
                <a:gd name="T16" fmla="*/ 151 w 299"/>
                <a:gd name="T17" fmla="*/ 0 h 340"/>
                <a:gd name="T18" fmla="*/ 0 w 299"/>
                <a:gd name="T19" fmla="*/ 171 h 340"/>
                <a:gd name="T20" fmla="*/ 154 w 299"/>
                <a:gd name="T21" fmla="*/ 340 h 340"/>
                <a:gd name="T22" fmla="*/ 291 w 299"/>
                <a:gd name="T23" fmla="*/ 230 h 340"/>
                <a:gd name="T24" fmla="*/ 239 w 299"/>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340">
                  <a:moveTo>
                    <a:pt x="56" y="140"/>
                  </a:moveTo>
                  <a:cubicBezTo>
                    <a:pt x="60" y="90"/>
                    <a:pt x="93" y="47"/>
                    <a:pt x="148" y="47"/>
                  </a:cubicBezTo>
                  <a:cubicBezTo>
                    <a:pt x="200" y="47"/>
                    <a:pt x="238" y="89"/>
                    <a:pt x="240" y="140"/>
                  </a:cubicBezTo>
                  <a:lnTo>
                    <a:pt x="56" y="140"/>
                  </a:lnTo>
                  <a:close/>
                  <a:moveTo>
                    <a:pt x="239" y="230"/>
                  </a:moveTo>
                  <a:cubicBezTo>
                    <a:pt x="230" y="272"/>
                    <a:pt x="199" y="293"/>
                    <a:pt x="156" y="293"/>
                  </a:cubicBezTo>
                  <a:cubicBezTo>
                    <a:pt x="86" y="293"/>
                    <a:pt x="54" y="243"/>
                    <a:pt x="56" y="188"/>
                  </a:cubicBezTo>
                  <a:cubicBezTo>
                    <a:pt x="296" y="188"/>
                    <a:pt x="296" y="188"/>
                    <a:pt x="296" y="188"/>
                  </a:cubicBezTo>
                  <a:cubicBezTo>
                    <a:pt x="299" y="108"/>
                    <a:pt x="264" y="0"/>
                    <a:pt x="151" y="0"/>
                  </a:cubicBezTo>
                  <a:cubicBezTo>
                    <a:pt x="63" y="0"/>
                    <a:pt x="0" y="72"/>
                    <a:pt x="0" y="171"/>
                  </a:cubicBezTo>
                  <a:cubicBezTo>
                    <a:pt x="4" y="269"/>
                    <a:pt x="52" y="340"/>
                    <a:pt x="154" y="340"/>
                  </a:cubicBezTo>
                  <a:cubicBezTo>
                    <a:pt x="226" y="340"/>
                    <a:pt x="277" y="301"/>
                    <a:pt x="291" y="230"/>
                  </a:cubicBezTo>
                  <a:lnTo>
                    <a:pt x="239"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9"/>
            <p:cNvSpPr>
              <a:spLocks/>
            </p:cNvSpPr>
            <p:nvPr userDrawn="1"/>
          </p:nvSpPr>
          <p:spPr bwMode="auto">
            <a:xfrm>
              <a:off x="5102" y="606"/>
              <a:ext cx="64" cy="80"/>
            </a:xfrm>
            <a:custGeom>
              <a:avLst/>
              <a:gdLst>
                <a:gd name="T0" fmla="*/ 0 w 268"/>
                <a:gd name="T1" fmla="*/ 332 h 332"/>
                <a:gd name="T2" fmla="*/ 52 w 268"/>
                <a:gd name="T3" fmla="*/ 332 h 332"/>
                <a:gd name="T4" fmla="*/ 52 w 268"/>
                <a:gd name="T5" fmla="*/ 149 h 332"/>
                <a:gd name="T6" fmla="*/ 149 w 268"/>
                <a:gd name="T7" fmla="*/ 47 h 332"/>
                <a:gd name="T8" fmla="*/ 216 w 268"/>
                <a:gd name="T9" fmla="*/ 112 h 332"/>
                <a:gd name="T10" fmla="*/ 216 w 268"/>
                <a:gd name="T11" fmla="*/ 332 h 332"/>
                <a:gd name="T12" fmla="*/ 268 w 268"/>
                <a:gd name="T13" fmla="*/ 332 h 332"/>
                <a:gd name="T14" fmla="*/ 268 w 268"/>
                <a:gd name="T15" fmla="*/ 119 h 332"/>
                <a:gd name="T16" fmla="*/ 157 w 268"/>
                <a:gd name="T17" fmla="*/ 0 h 332"/>
                <a:gd name="T18" fmla="*/ 50 w 268"/>
                <a:gd name="T19" fmla="*/ 59 h 332"/>
                <a:gd name="T20" fmla="*/ 49 w 268"/>
                <a:gd name="T21" fmla="*/ 59 h 332"/>
                <a:gd name="T22" fmla="*/ 49 w 268"/>
                <a:gd name="T23" fmla="*/ 8 h 332"/>
                <a:gd name="T24" fmla="*/ 0 w 268"/>
                <a:gd name="T25" fmla="*/ 8 h 332"/>
                <a:gd name="T26" fmla="*/ 0 w 268"/>
                <a:gd name="T2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8" h="332">
                  <a:moveTo>
                    <a:pt x="0" y="332"/>
                  </a:moveTo>
                  <a:cubicBezTo>
                    <a:pt x="52" y="332"/>
                    <a:pt x="52" y="332"/>
                    <a:pt x="52" y="332"/>
                  </a:cubicBezTo>
                  <a:cubicBezTo>
                    <a:pt x="52" y="149"/>
                    <a:pt x="52" y="149"/>
                    <a:pt x="52" y="149"/>
                  </a:cubicBezTo>
                  <a:cubicBezTo>
                    <a:pt x="52" y="90"/>
                    <a:pt x="84" y="47"/>
                    <a:pt x="149" y="47"/>
                  </a:cubicBezTo>
                  <a:cubicBezTo>
                    <a:pt x="191" y="47"/>
                    <a:pt x="216" y="73"/>
                    <a:pt x="216" y="112"/>
                  </a:cubicBezTo>
                  <a:cubicBezTo>
                    <a:pt x="216" y="332"/>
                    <a:pt x="216" y="332"/>
                    <a:pt x="216" y="332"/>
                  </a:cubicBezTo>
                  <a:cubicBezTo>
                    <a:pt x="268" y="332"/>
                    <a:pt x="268" y="332"/>
                    <a:pt x="268" y="332"/>
                  </a:cubicBezTo>
                  <a:cubicBezTo>
                    <a:pt x="268" y="119"/>
                    <a:pt x="268" y="119"/>
                    <a:pt x="268" y="119"/>
                  </a:cubicBezTo>
                  <a:cubicBezTo>
                    <a:pt x="268" y="49"/>
                    <a:pt x="242" y="0"/>
                    <a:pt x="157" y="0"/>
                  </a:cubicBezTo>
                  <a:cubicBezTo>
                    <a:pt x="110" y="0"/>
                    <a:pt x="73" y="19"/>
                    <a:pt x="50" y="59"/>
                  </a:cubicBezTo>
                  <a:cubicBezTo>
                    <a:pt x="49" y="59"/>
                    <a:pt x="49" y="59"/>
                    <a:pt x="49" y="59"/>
                  </a:cubicBezTo>
                  <a:cubicBezTo>
                    <a:pt x="49" y="8"/>
                    <a:pt x="49" y="8"/>
                    <a:pt x="49" y="8"/>
                  </a:cubicBezTo>
                  <a:cubicBezTo>
                    <a:pt x="0" y="8"/>
                    <a:pt x="0" y="8"/>
                    <a:pt x="0" y="8"/>
                  </a:cubicBezTo>
                  <a:lnTo>
                    <a:pt x="0" y="33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30"/>
            <p:cNvSpPr>
              <a:spLocks/>
            </p:cNvSpPr>
            <p:nvPr userDrawn="1"/>
          </p:nvSpPr>
          <p:spPr bwMode="auto">
            <a:xfrm>
              <a:off x="5184" y="608"/>
              <a:ext cx="64" cy="80"/>
            </a:xfrm>
            <a:custGeom>
              <a:avLst/>
              <a:gdLst>
                <a:gd name="T0" fmla="*/ 267 w 267"/>
                <a:gd name="T1" fmla="*/ 0 h 332"/>
                <a:gd name="T2" fmla="*/ 216 w 267"/>
                <a:gd name="T3" fmla="*/ 0 h 332"/>
                <a:gd name="T4" fmla="*/ 216 w 267"/>
                <a:gd name="T5" fmla="*/ 183 h 332"/>
                <a:gd name="T6" fmla="*/ 118 w 267"/>
                <a:gd name="T7" fmla="*/ 285 h 332"/>
                <a:gd name="T8" fmla="*/ 51 w 267"/>
                <a:gd name="T9" fmla="*/ 220 h 332"/>
                <a:gd name="T10" fmla="*/ 51 w 267"/>
                <a:gd name="T11" fmla="*/ 0 h 332"/>
                <a:gd name="T12" fmla="*/ 0 w 267"/>
                <a:gd name="T13" fmla="*/ 0 h 332"/>
                <a:gd name="T14" fmla="*/ 0 w 267"/>
                <a:gd name="T15" fmla="*/ 213 h 332"/>
                <a:gd name="T16" fmla="*/ 111 w 267"/>
                <a:gd name="T17" fmla="*/ 332 h 332"/>
                <a:gd name="T18" fmla="*/ 218 w 267"/>
                <a:gd name="T19" fmla="*/ 273 h 332"/>
                <a:gd name="T20" fmla="*/ 219 w 267"/>
                <a:gd name="T21" fmla="*/ 273 h 332"/>
                <a:gd name="T22" fmla="*/ 219 w 267"/>
                <a:gd name="T23" fmla="*/ 324 h 332"/>
                <a:gd name="T24" fmla="*/ 267 w 267"/>
                <a:gd name="T25" fmla="*/ 324 h 332"/>
                <a:gd name="T26" fmla="*/ 267 w 267"/>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7" h="332">
                  <a:moveTo>
                    <a:pt x="267" y="0"/>
                  </a:moveTo>
                  <a:cubicBezTo>
                    <a:pt x="216" y="0"/>
                    <a:pt x="216" y="0"/>
                    <a:pt x="216" y="0"/>
                  </a:cubicBezTo>
                  <a:cubicBezTo>
                    <a:pt x="216" y="183"/>
                    <a:pt x="216" y="183"/>
                    <a:pt x="216" y="183"/>
                  </a:cubicBezTo>
                  <a:cubicBezTo>
                    <a:pt x="216" y="242"/>
                    <a:pt x="184" y="285"/>
                    <a:pt x="118" y="285"/>
                  </a:cubicBezTo>
                  <a:cubicBezTo>
                    <a:pt x="77" y="285"/>
                    <a:pt x="51" y="259"/>
                    <a:pt x="51" y="220"/>
                  </a:cubicBezTo>
                  <a:cubicBezTo>
                    <a:pt x="51" y="0"/>
                    <a:pt x="51" y="0"/>
                    <a:pt x="51" y="0"/>
                  </a:cubicBezTo>
                  <a:cubicBezTo>
                    <a:pt x="0" y="0"/>
                    <a:pt x="0" y="0"/>
                    <a:pt x="0" y="0"/>
                  </a:cubicBezTo>
                  <a:cubicBezTo>
                    <a:pt x="0" y="213"/>
                    <a:pt x="0" y="213"/>
                    <a:pt x="0" y="213"/>
                  </a:cubicBezTo>
                  <a:cubicBezTo>
                    <a:pt x="0" y="283"/>
                    <a:pt x="25" y="332"/>
                    <a:pt x="111" y="332"/>
                  </a:cubicBezTo>
                  <a:cubicBezTo>
                    <a:pt x="158" y="332"/>
                    <a:pt x="195" y="313"/>
                    <a:pt x="218" y="273"/>
                  </a:cubicBezTo>
                  <a:cubicBezTo>
                    <a:pt x="219" y="273"/>
                    <a:pt x="219" y="273"/>
                    <a:pt x="219" y="273"/>
                  </a:cubicBezTo>
                  <a:cubicBezTo>
                    <a:pt x="219" y="324"/>
                    <a:pt x="219" y="324"/>
                    <a:pt x="219" y="324"/>
                  </a:cubicBezTo>
                  <a:cubicBezTo>
                    <a:pt x="267" y="324"/>
                    <a:pt x="267" y="324"/>
                    <a:pt x="267" y="324"/>
                  </a:cubicBezTo>
                  <a:lnTo>
                    <a:pt x="26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1"/>
            <p:cNvSpPr>
              <a:spLocks noEditPoints="1"/>
            </p:cNvSpPr>
            <p:nvPr userDrawn="1"/>
          </p:nvSpPr>
          <p:spPr bwMode="auto">
            <a:xfrm>
              <a:off x="5263" y="606"/>
              <a:ext cx="72" cy="82"/>
            </a:xfrm>
            <a:custGeom>
              <a:avLst/>
              <a:gdLst>
                <a:gd name="T0" fmla="*/ 55 w 298"/>
                <a:gd name="T1" fmla="*/ 140 h 340"/>
                <a:gd name="T2" fmla="*/ 147 w 298"/>
                <a:gd name="T3" fmla="*/ 47 h 340"/>
                <a:gd name="T4" fmla="*/ 240 w 298"/>
                <a:gd name="T5" fmla="*/ 140 h 340"/>
                <a:gd name="T6" fmla="*/ 55 w 298"/>
                <a:gd name="T7" fmla="*/ 140 h 340"/>
                <a:gd name="T8" fmla="*/ 238 w 298"/>
                <a:gd name="T9" fmla="*/ 230 h 340"/>
                <a:gd name="T10" fmla="*/ 155 w 298"/>
                <a:gd name="T11" fmla="*/ 293 h 340"/>
                <a:gd name="T12" fmla="*/ 55 w 298"/>
                <a:gd name="T13" fmla="*/ 188 h 340"/>
                <a:gd name="T14" fmla="*/ 295 w 298"/>
                <a:gd name="T15" fmla="*/ 188 h 340"/>
                <a:gd name="T16" fmla="*/ 150 w 298"/>
                <a:gd name="T17" fmla="*/ 0 h 340"/>
                <a:gd name="T18" fmla="*/ 0 w 298"/>
                <a:gd name="T19" fmla="*/ 171 h 340"/>
                <a:gd name="T20" fmla="*/ 153 w 298"/>
                <a:gd name="T21" fmla="*/ 340 h 340"/>
                <a:gd name="T22" fmla="*/ 290 w 298"/>
                <a:gd name="T23" fmla="*/ 230 h 340"/>
                <a:gd name="T24" fmla="*/ 238 w 298"/>
                <a:gd name="T25"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340">
                  <a:moveTo>
                    <a:pt x="55" y="140"/>
                  </a:moveTo>
                  <a:cubicBezTo>
                    <a:pt x="59" y="90"/>
                    <a:pt x="92" y="47"/>
                    <a:pt x="147" y="47"/>
                  </a:cubicBezTo>
                  <a:cubicBezTo>
                    <a:pt x="199" y="47"/>
                    <a:pt x="237" y="89"/>
                    <a:pt x="240" y="140"/>
                  </a:cubicBezTo>
                  <a:lnTo>
                    <a:pt x="55" y="140"/>
                  </a:lnTo>
                  <a:close/>
                  <a:moveTo>
                    <a:pt x="238" y="230"/>
                  </a:moveTo>
                  <a:cubicBezTo>
                    <a:pt x="229" y="272"/>
                    <a:pt x="199" y="293"/>
                    <a:pt x="155" y="293"/>
                  </a:cubicBezTo>
                  <a:cubicBezTo>
                    <a:pt x="85" y="293"/>
                    <a:pt x="53" y="243"/>
                    <a:pt x="55" y="188"/>
                  </a:cubicBezTo>
                  <a:cubicBezTo>
                    <a:pt x="295" y="188"/>
                    <a:pt x="295" y="188"/>
                    <a:pt x="295" y="188"/>
                  </a:cubicBezTo>
                  <a:cubicBezTo>
                    <a:pt x="298" y="108"/>
                    <a:pt x="264" y="0"/>
                    <a:pt x="150" y="0"/>
                  </a:cubicBezTo>
                  <a:cubicBezTo>
                    <a:pt x="62" y="0"/>
                    <a:pt x="0" y="72"/>
                    <a:pt x="0" y="171"/>
                  </a:cubicBezTo>
                  <a:cubicBezTo>
                    <a:pt x="3" y="269"/>
                    <a:pt x="51" y="340"/>
                    <a:pt x="153" y="340"/>
                  </a:cubicBezTo>
                  <a:cubicBezTo>
                    <a:pt x="225" y="340"/>
                    <a:pt x="276" y="301"/>
                    <a:pt x="290" y="230"/>
                  </a:cubicBezTo>
                  <a:lnTo>
                    <a:pt x="238"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2"/>
            <p:cNvSpPr>
              <a:spLocks noEditPoints="1"/>
            </p:cNvSpPr>
            <p:nvPr userDrawn="1"/>
          </p:nvSpPr>
          <p:spPr bwMode="auto">
            <a:xfrm>
              <a:off x="4492" y="729"/>
              <a:ext cx="92" cy="110"/>
            </a:xfrm>
            <a:custGeom>
              <a:avLst/>
              <a:gdLst>
                <a:gd name="T0" fmla="*/ 152 w 385"/>
                <a:gd name="T1" fmla="*/ 173 h 456"/>
                <a:gd name="T2" fmla="*/ 108 w 385"/>
                <a:gd name="T3" fmla="*/ 95 h 456"/>
                <a:gd name="T4" fmla="*/ 160 w 385"/>
                <a:gd name="T5" fmla="*/ 47 h 456"/>
                <a:gd name="T6" fmla="*/ 212 w 385"/>
                <a:gd name="T7" fmla="*/ 95 h 456"/>
                <a:gd name="T8" fmla="*/ 152 w 385"/>
                <a:gd name="T9" fmla="*/ 173 h 456"/>
                <a:gd name="T10" fmla="*/ 315 w 385"/>
                <a:gd name="T11" fmla="*/ 448 h 456"/>
                <a:gd name="T12" fmla="*/ 385 w 385"/>
                <a:gd name="T13" fmla="*/ 448 h 456"/>
                <a:gd name="T14" fmla="*/ 297 w 385"/>
                <a:gd name="T15" fmla="*/ 347 h 456"/>
                <a:gd name="T16" fmla="*/ 327 w 385"/>
                <a:gd name="T17" fmla="*/ 237 h 456"/>
                <a:gd name="T18" fmla="*/ 277 w 385"/>
                <a:gd name="T19" fmla="*/ 237 h 456"/>
                <a:gd name="T20" fmla="*/ 261 w 385"/>
                <a:gd name="T21" fmla="*/ 306 h 456"/>
                <a:gd name="T22" fmla="*/ 181 w 385"/>
                <a:gd name="T23" fmla="*/ 208 h 456"/>
                <a:gd name="T24" fmla="*/ 264 w 385"/>
                <a:gd name="T25" fmla="*/ 92 h 456"/>
                <a:gd name="T26" fmla="*/ 156 w 385"/>
                <a:gd name="T27" fmla="*/ 0 h 456"/>
                <a:gd name="T28" fmla="*/ 56 w 385"/>
                <a:gd name="T29" fmla="*/ 92 h 456"/>
                <a:gd name="T30" fmla="*/ 104 w 385"/>
                <a:gd name="T31" fmla="*/ 198 h 456"/>
                <a:gd name="T32" fmla="*/ 0 w 385"/>
                <a:gd name="T33" fmla="*/ 333 h 456"/>
                <a:gd name="T34" fmla="*/ 140 w 385"/>
                <a:gd name="T35" fmla="*/ 456 h 456"/>
                <a:gd name="T36" fmla="*/ 266 w 385"/>
                <a:gd name="T37" fmla="*/ 393 h 456"/>
                <a:gd name="T38" fmla="*/ 315 w 385"/>
                <a:gd name="T39" fmla="*/ 448 h 456"/>
                <a:gd name="T40" fmla="*/ 237 w 385"/>
                <a:gd name="T41" fmla="*/ 355 h 456"/>
                <a:gd name="T42" fmla="*/ 142 w 385"/>
                <a:gd name="T43" fmla="*/ 409 h 456"/>
                <a:gd name="T44" fmla="*/ 56 w 385"/>
                <a:gd name="T45" fmla="*/ 333 h 456"/>
                <a:gd name="T46" fmla="*/ 134 w 385"/>
                <a:gd name="T47" fmla="*/ 232 h 456"/>
                <a:gd name="T48" fmla="*/ 237 w 385"/>
                <a:gd name="T49" fmla="*/ 355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56">
                  <a:moveTo>
                    <a:pt x="152" y="173"/>
                  </a:moveTo>
                  <a:cubicBezTo>
                    <a:pt x="132" y="148"/>
                    <a:pt x="108" y="122"/>
                    <a:pt x="108" y="95"/>
                  </a:cubicBezTo>
                  <a:cubicBezTo>
                    <a:pt x="108" y="62"/>
                    <a:pt x="135" y="47"/>
                    <a:pt x="160" y="47"/>
                  </a:cubicBezTo>
                  <a:cubicBezTo>
                    <a:pt x="192" y="47"/>
                    <a:pt x="212" y="69"/>
                    <a:pt x="212" y="95"/>
                  </a:cubicBezTo>
                  <a:cubicBezTo>
                    <a:pt x="212" y="132"/>
                    <a:pt x="178" y="156"/>
                    <a:pt x="152" y="173"/>
                  </a:cubicBezTo>
                  <a:close/>
                  <a:moveTo>
                    <a:pt x="315" y="448"/>
                  </a:moveTo>
                  <a:cubicBezTo>
                    <a:pt x="385" y="448"/>
                    <a:pt x="385" y="448"/>
                    <a:pt x="385" y="448"/>
                  </a:cubicBezTo>
                  <a:cubicBezTo>
                    <a:pt x="297" y="347"/>
                    <a:pt x="297" y="347"/>
                    <a:pt x="297" y="347"/>
                  </a:cubicBezTo>
                  <a:cubicBezTo>
                    <a:pt x="316" y="307"/>
                    <a:pt x="323" y="289"/>
                    <a:pt x="327" y="237"/>
                  </a:cubicBezTo>
                  <a:cubicBezTo>
                    <a:pt x="277" y="237"/>
                    <a:pt x="277" y="237"/>
                    <a:pt x="277" y="237"/>
                  </a:cubicBezTo>
                  <a:cubicBezTo>
                    <a:pt x="275" y="260"/>
                    <a:pt x="269" y="284"/>
                    <a:pt x="261" y="306"/>
                  </a:cubicBezTo>
                  <a:cubicBezTo>
                    <a:pt x="181" y="208"/>
                    <a:pt x="181" y="208"/>
                    <a:pt x="181" y="208"/>
                  </a:cubicBezTo>
                  <a:cubicBezTo>
                    <a:pt x="224" y="183"/>
                    <a:pt x="264" y="145"/>
                    <a:pt x="264" y="92"/>
                  </a:cubicBezTo>
                  <a:cubicBezTo>
                    <a:pt x="264" y="31"/>
                    <a:pt x="213" y="0"/>
                    <a:pt x="156" y="0"/>
                  </a:cubicBezTo>
                  <a:cubicBezTo>
                    <a:pt x="91" y="0"/>
                    <a:pt x="56" y="43"/>
                    <a:pt x="56" y="92"/>
                  </a:cubicBezTo>
                  <a:cubicBezTo>
                    <a:pt x="56" y="138"/>
                    <a:pt x="80" y="162"/>
                    <a:pt x="104" y="198"/>
                  </a:cubicBezTo>
                  <a:cubicBezTo>
                    <a:pt x="47" y="228"/>
                    <a:pt x="0" y="263"/>
                    <a:pt x="0" y="333"/>
                  </a:cubicBezTo>
                  <a:cubicBezTo>
                    <a:pt x="0" y="370"/>
                    <a:pt x="19" y="456"/>
                    <a:pt x="140" y="456"/>
                  </a:cubicBezTo>
                  <a:cubicBezTo>
                    <a:pt x="189" y="456"/>
                    <a:pt x="240" y="435"/>
                    <a:pt x="266" y="393"/>
                  </a:cubicBezTo>
                  <a:lnTo>
                    <a:pt x="315" y="448"/>
                  </a:lnTo>
                  <a:close/>
                  <a:moveTo>
                    <a:pt x="237" y="355"/>
                  </a:moveTo>
                  <a:cubicBezTo>
                    <a:pt x="216" y="388"/>
                    <a:pt x="183" y="409"/>
                    <a:pt x="142" y="409"/>
                  </a:cubicBezTo>
                  <a:cubicBezTo>
                    <a:pt x="98" y="409"/>
                    <a:pt x="56" y="378"/>
                    <a:pt x="56" y="333"/>
                  </a:cubicBezTo>
                  <a:cubicBezTo>
                    <a:pt x="56" y="279"/>
                    <a:pt x="92" y="256"/>
                    <a:pt x="134" y="232"/>
                  </a:cubicBezTo>
                  <a:lnTo>
                    <a:pt x="237" y="355"/>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p:cNvSpPr>
              <a:spLocks/>
            </p:cNvSpPr>
            <p:nvPr userDrawn="1"/>
          </p:nvSpPr>
          <p:spPr bwMode="auto">
            <a:xfrm>
              <a:off x="4617" y="727"/>
              <a:ext cx="97" cy="112"/>
            </a:xfrm>
            <a:custGeom>
              <a:avLst/>
              <a:gdLst>
                <a:gd name="T0" fmla="*/ 395 w 399"/>
                <a:gd name="T1" fmla="*/ 144 h 464"/>
                <a:gd name="T2" fmla="*/ 211 w 399"/>
                <a:gd name="T3" fmla="*/ 0 h 464"/>
                <a:gd name="T4" fmla="*/ 0 w 399"/>
                <a:gd name="T5" fmla="*/ 233 h 464"/>
                <a:gd name="T6" fmla="*/ 206 w 399"/>
                <a:gd name="T7" fmla="*/ 464 h 464"/>
                <a:gd name="T8" fmla="*/ 399 w 399"/>
                <a:gd name="T9" fmla="*/ 286 h 464"/>
                <a:gd name="T10" fmla="*/ 340 w 399"/>
                <a:gd name="T11" fmla="*/ 286 h 464"/>
                <a:gd name="T12" fmla="*/ 211 w 399"/>
                <a:gd name="T13" fmla="*/ 414 h 464"/>
                <a:gd name="T14" fmla="*/ 59 w 399"/>
                <a:gd name="T15" fmla="*/ 229 h 464"/>
                <a:gd name="T16" fmla="*/ 210 w 399"/>
                <a:gd name="T17" fmla="*/ 50 h 464"/>
                <a:gd name="T18" fmla="*/ 335 w 399"/>
                <a:gd name="T19" fmla="*/ 144 h 464"/>
                <a:gd name="T20" fmla="*/ 395 w 399"/>
                <a:gd name="T21" fmla="*/ 1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464">
                  <a:moveTo>
                    <a:pt x="395" y="144"/>
                  </a:moveTo>
                  <a:cubicBezTo>
                    <a:pt x="381" y="50"/>
                    <a:pt x="304" y="0"/>
                    <a:pt x="211" y="0"/>
                  </a:cubicBezTo>
                  <a:cubicBezTo>
                    <a:pt x="74" y="0"/>
                    <a:pt x="0" y="105"/>
                    <a:pt x="0" y="233"/>
                  </a:cubicBezTo>
                  <a:cubicBezTo>
                    <a:pt x="0" y="362"/>
                    <a:pt x="67" y="464"/>
                    <a:pt x="206" y="464"/>
                  </a:cubicBezTo>
                  <a:cubicBezTo>
                    <a:pt x="318" y="464"/>
                    <a:pt x="388" y="396"/>
                    <a:pt x="399" y="286"/>
                  </a:cubicBezTo>
                  <a:cubicBezTo>
                    <a:pt x="340" y="286"/>
                    <a:pt x="340" y="286"/>
                    <a:pt x="340" y="286"/>
                  </a:cubicBezTo>
                  <a:cubicBezTo>
                    <a:pt x="334" y="359"/>
                    <a:pt x="289" y="414"/>
                    <a:pt x="211" y="414"/>
                  </a:cubicBezTo>
                  <a:cubicBezTo>
                    <a:pt x="104" y="414"/>
                    <a:pt x="59" y="330"/>
                    <a:pt x="59" y="229"/>
                  </a:cubicBezTo>
                  <a:cubicBezTo>
                    <a:pt x="59" y="137"/>
                    <a:pt x="104" y="50"/>
                    <a:pt x="210" y="50"/>
                  </a:cubicBezTo>
                  <a:cubicBezTo>
                    <a:pt x="272" y="50"/>
                    <a:pt x="323" y="82"/>
                    <a:pt x="335" y="144"/>
                  </a:cubicBezTo>
                  <a:lnTo>
                    <a:pt x="395" y="144"/>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p:cNvSpPr>
              <a:spLocks/>
            </p:cNvSpPr>
            <p:nvPr userDrawn="1"/>
          </p:nvSpPr>
          <p:spPr bwMode="auto">
            <a:xfrm>
              <a:off x="4730" y="759"/>
              <a:ext cx="65" cy="80"/>
            </a:xfrm>
            <a:custGeom>
              <a:avLst/>
              <a:gdLst>
                <a:gd name="T0" fmla="*/ 268 w 268"/>
                <a:gd name="T1" fmla="*/ 0 h 332"/>
                <a:gd name="T2" fmla="*/ 216 w 268"/>
                <a:gd name="T3" fmla="*/ 0 h 332"/>
                <a:gd name="T4" fmla="*/ 216 w 268"/>
                <a:gd name="T5" fmla="*/ 183 h 332"/>
                <a:gd name="T6" fmla="*/ 119 w 268"/>
                <a:gd name="T7" fmla="*/ 285 h 332"/>
                <a:gd name="T8" fmla="*/ 52 w 268"/>
                <a:gd name="T9" fmla="*/ 220 h 332"/>
                <a:gd name="T10" fmla="*/ 52 w 268"/>
                <a:gd name="T11" fmla="*/ 0 h 332"/>
                <a:gd name="T12" fmla="*/ 0 w 268"/>
                <a:gd name="T13" fmla="*/ 0 h 332"/>
                <a:gd name="T14" fmla="*/ 0 w 268"/>
                <a:gd name="T15" fmla="*/ 213 h 332"/>
                <a:gd name="T16" fmla="*/ 111 w 268"/>
                <a:gd name="T17" fmla="*/ 332 h 332"/>
                <a:gd name="T18" fmla="*/ 218 w 268"/>
                <a:gd name="T19" fmla="*/ 273 h 332"/>
                <a:gd name="T20" fmla="*/ 219 w 268"/>
                <a:gd name="T21" fmla="*/ 273 h 332"/>
                <a:gd name="T22" fmla="*/ 219 w 268"/>
                <a:gd name="T23" fmla="*/ 324 h 332"/>
                <a:gd name="T24" fmla="*/ 268 w 268"/>
                <a:gd name="T25" fmla="*/ 324 h 332"/>
                <a:gd name="T26" fmla="*/ 268 w 268"/>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8" h="332">
                  <a:moveTo>
                    <a:pt x="268" y="0"/>
                  </a:moveTo>
                  <a:cubicBezTo>
                    <a:pt x="216" y="0"/>
                    <a:pt x="216" y="0"/>
                    <a:pt x="216" y="0"/>
                  </a:cubicBezTo>
                  <a:cubicBezTo>
                    <a:pt x="216" y="183"/>
                    <a:pt x="216" y="183"/>
                    <a:pt x="216" y="183"/>
                  </a:cubicBezTo>
                  <a:cubicBezTo>
                    <a:pt x="216" y="242"/>
                    <a:pt x="184" y="285"/>
                    <a:pt x="119" y="285"/>
                  </a:cubicBezTo>
                  <a:cubicBezTo>
                    <a:pt x="77" y="285"/>
                    <a:pt x="52" y="259"/>
                    <a:pt x="52" y="220"/>
                  </a:cubicBezTo>
                  <a:cubicBezTo>
                    <a:pt x="52" y="0"/>
                    <a:pt x="52" y="0"/>
                    <a:pt x="52" y="0"/>
                  </a:cubicBezTo>
                  <a:cubicBezTo>
                    <a:pt x="0" y="0"/>
                    <a:pt x="0" y="0"/>
                    <a:pt x="0" y="0"/>
                  </a:cubicBezTo>
                  <a:cubicBezTo>
                    <a:pt x="0" y="213"/>
                    <a:pt x="0" y="213"/>
                    <a:pt x="0" y="213"/>
                  </a:cubicBezTo>
                  <a:cubicBezTo>
                    <a:pt x="0" y="283"/>
                    <a:pt x="26" y="332"/>
                    <a:pt x="111" y="332"/>
                  </a:cubicBezTo>
                  <a:cubicBezTo>
                    <a:pt x="158" y="332"/>
                    <a:pt x="195" y="313"/>
                    <a:pt x="218" y="273"/>
                  </a:cubicBezTo>
                  <a:cubicBezTo>
                    <a:pt x="219" y="273"/>
                    <a:pt x="219" y="273"/>
                    <a:pt x="219" y="273"/>
                  </a:cubicBezTo>
                  <a:cubicBezTo>
                    <a:pt x="219" y="324"/>
                    <a:pt x="219" y="324"/>
                    <a:pt x="219" y="324"/>
                  </a:cubicBezTo>
                  <a:cubicBezTo>
                    <a:pt x="268" y="324"/>
                    <a:pt x="268" y="324"/>
                    <a:pt x="268" y="324"/>
                  </a:cubicBezTo>
                  <a:lnTo>
                    <a:pt x="26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5"/>
            <p:cNvSpPr>
              <a:spLocks/>
            </p:cNvSpPr>
            <p:nvPr userDrawn="1"/>
          </p:nvSpPr>
          <p:spPr bwMode="auto">
            <a:xfrm>
              <a:off x="4808" y="757"/>
              <a:ext cx="67" cy="82"/>
            </a:xfrm>
            <a:custGeom>
              <a:avLst/>
              <a:gdLst>
                <a:gd name="T0" fmla="*/ 0 w 276"/>
                <a:gd name="T1" fmla="*/ 230 h 340"/>
                <a:gd name="T2" fmla="*/ 137 w 276"/>
                <a:gd name="T3" fmla="*/ 340 h 340"/>
                <a:gd name="T4" fmla="*/ 276 w 276"/>
                <a:gd name="T5" fmla="*/ 238 h 340"/>
                <a:gd name="T6" fmla="*/ 170 w 276"/>
                <a:gd name="T7" fmla="*/ 145 h 340"/>
                <a:gd name="T8" fmla="*/ 64 w 276"/>
                <a:gd name="T9" fmla="*/ 89 h 340"/>
                <a:gd name="T10" fmla="*/ 133 w 276"/>
                <a:gd name="T11" fmla="*/ 47 h 340"/>
                <a:gd name="T12" fmla="*/ 208 w 276"/>
                <a:gd name="T13" fmla="*/ 102 h 340"/>
                <a:gd name="T14" fmla="*/ 260 w 276"/>
                <a:gd name="T15" fmla="*/ 102 h 340"/>
                <a:gd name="T16" fmla="*/ 128 w 276"/>
                <a:gd name="T17" fmla="*/ 0 h 340"/>
                <a:gd name="T18" fmla="*/ 8 w 276"/>
                <a:gd name="T19" fmla="*/ 92 h 340"/>
                <a:gd name="T20" fmla="*/ 113 w 276"/>
                <a:gd name="T21" fmla="*/ 184 h 340"/>
                <a:gd name="T22" fmla="*/ 220 w 276"/>
                <a:gd name="T23" fmla="*/ 244 h 340"/>
                <a:gd name="T24" fmla="*/ 140 w 276"/>
                <a:gd name="T25" fmla="*/ 293 h 340"/>
                <a:gd name="T26" fmla="*/ 52 w 276"/>
                <a:gd name="T27" fmla="*/ 230 h 340"/>
                <a:gd name="T28" fmla="*/ 0 w 276"/>
                <a:gd name="T29"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40">
                  <a:moveTo>
                    <a:pt x="0" y="230"/>
                  </a:moveTo>
                  <a:cubicBezTo>
                    <a:pt x="3" y="310"/>
                    <a:pt x="63" y="340"/>
                    <a:pt x="137" y="340"/>
                  </a:cubicBezTo>
                  <a:cubicBezTo>
                    <a:pt x="204" y="340"/>
                    <a:pt x="276" y="315"/>
                    <a:pt x="276" y="238"/>
                  </a:cubicBezTo>
                  <a:cubicBezTo>
                    <a:pt x="276" y="175"/>
                    <a:pt x="224" y="157"/>
                    <a:pt x="170" y="145"/>
                  </a:cubicBezTo>
                  <a:cubicBezTo>
                    <a:pt x="120" y="133"/>
                    <a:pt x="64" y="127"/>
                    <a:pt x="64" y="89"/>
                  </a:cubicBezTo>
                  <a:cubicBezTo>
                    <a:pt x="64" y="56"/>
                    <a:pt x="101" y="47"/>
                    <a:pt x="133" y="47"/>
                  </a:cubicBezTo>
                  <a:cubicBezTo>
                    <a:pt x="168" y="47"/>
                    <a:pt x="204" y="60"/>
                    <a:pt x="208" y="102"/>
                  </a:cubicBezTo>
                  <a:cubicBezTo>
                    <a:pt x="260" y="102"/>
                    <a:pt x="260" y="102"/>
                    <a:pt x="260" y="102"/>
                  </a:cubicBezTo>
                  <a:cubicBezTo>
                    <a:pt x="255" y="23"/>
                    <a:pt x="200" y="0"/>
                    <a:pt x="128" y="0"/>
                  </a:cubicBezTo>
                  <a:cubicBezTo>
                    <a:pt x="72" y="0"/>
                    <a:pt x="8" y="27"/>
                    <a:pt x="8" y="92"/>
                  </a:cubicBezTo>
                  <a:cubicBezTo>
                    <a:pt x="8" y="155"/>
                    <a:pt x="60" y="172"/>
                    <a:pt x="113" y="184"/>
                  </a:cubicBezTo>
                  <a:cubicBezTo>
                    <a:pt x="166" y="196"/>
                    <a:pt x="220" y="203"/>
                    <a:pt x="220" y="244"/>
                  </a:cubicBezTo>
                  <a:cubicBezTo>
                    <a:pt x="220" y="285"/>
                    <a:pt x="174" y="293"/>
                    <a:pt x="140" y="293"/>
                  </a:cubicBezTo>
                  <a:cubicBezTo>
                    <a:pt x="96" y="293"/>
                    <a:pt x="53" y="278"/>
                    <a:pt x="52" y="230"/>
                  </a:cubicBezTo>
                  <a:lnTo>
                    <a:pt x="0"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36"/>
            <p:cNvSpPr>
              <a:spLocks/>
            </p:cNvSpPr>
            <p:nvPr userDrawn="1"/>
          </p:nvSpPr>
          <p:spPr bwMode="auto">
            <a:xfrm>
              <a:off x="4881" y="736"/>
              <a:ext cx="41" cy="101"/>
            </a:xfrm>
            <a:custGeom>
              <a:avLst/>
              <a:gdLst>
                <a:gd name="T0" fmla="*/ 107 w 172"/>
                <a:gd name="T1" fmla="*/ 0 h 421"/>
                <a:gd name="T2" fmla="*/ 56 w 172"/>
                <a:gd name="T3" fmla="*/ 0 h 421"/>
                <a:gd name="T4" fmla="*/ 56 w 172"/>
                <a:gd name="T5" fmla="*/ 97 h 421"/>
                <a:gd name="T6" fmla="*/ 0 w 172"/>
                <a:gd name="T7" fmla="*/ 97 h 421"/>
                <a:gd name="T8" fmla="*/ 0 w 172"/>
                <a:gd name="T9" fmla="*/ 144 h 421"/>
                <a:gd name="T10" fmla="*/ 56 w 172"/>
                <a:gd name="T11" fmla="*/ 144 h 421"/>
                <a:gd name="T12" fmla="*/ 56 w 172"/>
                <a:gd name="T13" fmla="*/ 350 h 421"/>
                <a:gd name="T14" fmla="*/ 131 w 172"/>
                <a:gd name="T15" fmla="*/ 421 h 421"/>
                <a:gd name="T16" fmla="*/ 172 w 172"/>
                <a:gd name="T17" fmla="*/ 421 h 421"/>
                <a:gd name="T18" fmla="*/ 172 w 172"/>
                <a:gd name="T19" fmla="*/ 374 h 421"/>
                <a:gd name="T20" fmla="*/ 147 w 172"/>
                <a:gd name="T21" fmla="*/ 374 h 421"/>
                <a:gd name="T22" fmla="*/ 107 w 172"/>
                <a:gd name="T23" fmla="*/ 345 h 421"/>
                <a:gd name="T24" fmla="*/ 107 w 172"/>
                <a:gd name="T25" fmla="*/ 144 h 421"/>
                <a:gd name="T26" fmla="*/ 172 w 172"/>
                <a:gd name="T27" fmla="*/ 144 h 421"/>
                <a:gd name="T28" fmla="*/ 172 w 172"/>
                <a:gd name="T29" fmla="*/ 97 h 421"/>
                <a:gd name="T30" fmla="*/ 107 w 172"/>
                <a:gd name="T31" fmla="*/ 97 h 421"/>
                <a:gd name="T32" fmla="*/ 107 w 172"/>
                <a:gd name="T3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2" h="421">
                  <a:moveTo>
                    <a:pt x="107" y="0"/>
                  </a:moveTo>
                  <a:cubicBezTo>
                    <a:pt x="56" y="0"/>
                    <a:pt x="56" y="0"/>
                    <a:pt x="56" y="0"/>
                  </a:cubicBezTo>
                  <a:cubicBezTo>
                    <a:pt x="56" y="97"/>
                    <a:pt x="56" y="97"/>
                    <a:pt x="56" y="97"/>
                  </a:cubicBezTo>
                  <a:cubicBezTo>
                    <a:pt x="0" y="97"/>
                    <a:pt x="0" y="97"/>
                    <a:pt x="0" y="97"/>
                  </a:cubicBezTo>
                  <a:cubicBezTo>
                    <a:pt x="0" y="144"/>
                    <a:pt x="0" y="144"/>
                    <a:pt x="0" y="144"/>
                  </a:cubicBezTo>
                  <a:cubicBezTo>
                    <a:pt x="56" y="144"/>
                    <a:pt x="56" y="144"/>
                    <a:pt x="56" y="144"/>
                  </a:cubicBezTo>
                  <a:cubicBezTo>
                    <a:pt x="56" y="350"/>
                    <a:pt x="56" y="350"/>
                    <a:pt x="56" y="350"/>
                  </a:cubicBezTo>
                  <a:cubicBezTo>
                    <a:pt x="56" y="410"/>
                    <a:pt x="77" y="421"/>
                    <a:pt x="131" y="421"/>
                  </a:cubicBezTo>
                  <a:cubicBezTo>
                    <a:pt x="172" y="421"/>
                    <a:pt x="172" y="421"/>
                    <a:pt x="172" y="421"/>
                  </a:cubicBezTo>
                  <a:cubicBezTo>
                    <a:pt x="172" y="374"/>
                    <a:pt x="172" y="374"/>
                    <a:pt x="172" y="374"/>
                  </a:cubicBezTo>
                  <a:cubicBezTo>
                    <a:pt x="147" y="374"/>
                    <a:pt x="147" y="374"/>
                    <a:pt x="147" y="374"/>
                  </a:cubicBezTo>
                  <a:cubicBezTo>
                    <a:pt x="114" y="374"/>
                    <a:pt x="107" y="370"/>
                    <a:pt x="107" y="345"/>
                  </a:cubicBezTo>
                  <a:cubicBezTo>
                    <a:pt x="107" y="144"/>
                    <a:pt x="107" y="144"/>
                    <a:pt x="107" y="144"/>
                  </a:cubicBezTo>
                  <a:cubicBezTo>
                    <a:pt x="172" y="144"/>
                    <a:pt x="172" y="144"/>
                    <a:pt x="172" y="144"/>
                  </a:cubicBezTo>
                  <a:cubicBezTo>
                    <a:pt x="172" y="97"/>
                    <a:pt x="172" y="97"/>
                    <a:pt x="172" y="97"/>
                  </a:cubicBezTo>
                  <a:cubicBezTo>
                    <a:pt x="107" y="97"/>
                    <a:pt x="107" y="97"/>
                    <a:pt x="107" y="97"/>
                  </a:cubicBezTo>
                  <a:lnTo>
                    <a:pt x="107"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7"/>
            <p:cNvSpPr>
              <a:spLocks noEditPoints="1"/>
            </p:cNvSpPr>
            <p:nvPr userDrawn="1"/>
          </p:nvSpPr>
          <p:spPr bwMode="auto">
            <a:xfrm>
              <a:off x="4933" y="757"/>
              <a:ext cx="75" cy="82"/>
            </a:xfrm>
            <a:custGeom>
              <a:avLst/>
              <a:gdLst>
                <a:gd name="T0" fmla="*/ 56 w 312"/>
                <a:gd name="T1" fmla="*/ 170 h 340"/>
                <a:gd name="T2" fmla="*/ 156 w 312"/>
                <a:gd name="T3" fmla="*/ 47 h 340"/>
                <a:gd name="T4" fmla="*/ 256 w 312"/>
                <a:gd name="T5" fmla="*/ 170 h 340"/>
                <a:gd name="T6" fmla="*/ 156 w 312"/>
                <a:gd name="T7" fmla="*/ 293 h 340"/>
                <a:gd name="T8" fmla="*/ 56 w 312"/>
                <a:gd name="T9" fmla="*/ 170 h 340"/>
                <a:gd name="T10" fmla="*/ 0 w 312"/>
                <a:gd name="T11" fmla="*/ 170 h 340"/>
                <a:gd name="T12" fmla="*/ 156 w 312"/>
                <a:gd name="T13" fmla="*/ 340 h 340"/>
                <a:gd name="T14" fmla="*/ 312 w 312"/>
                <a:gd name="T15" fmla="*/ 170 h 340"/>
                <a:gd name="T16" fmla="*/ 156 w 312"/>
                <a:gd name="T17" fmla="*/ 0 h 340"/>
                <a:gd name="T18" fmla="*/ 0 w 312"/>
                <a:gd name="T19" fmla="*/ 17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40">
                  <a:moveTo>
                    <a:pt x="56" y="170"/>
                  </a:moveTo>
                  <a:cubicBezTo>
                    <a:pt x="56" y="91"/>
                    <a:pt x="101" y="47"/>
                    <a:pt x="156" y="47"/>
                  </a:cubicBezTo>
                  <a:cubicBezTo>
                    <a:pt x="212" y="47"/>
                    <a:pt x="256" y="91"/>
                    <a:pt x="256" y="170"/>
                  </a:cubicBezTo>
                  <a:cubicBezTo>
                    <a:pt x="256" y="249"/>
                    <a:pt x="212" y="293"/>
                    <a:pt x="156" y="293"/>
                  </a:cubicBezTo>
                  <a:cubicBezTo>
                    <a:pt x="101" y="293"/>
                    <a:pt x="56" y="249"/>
                    <a:pt x="56" y="170"/>
                  </a:cubicBezTo>
                  <a:close/>
                  <a:moveTo>
                    <a:pt x="0" y="170"/>
                  </a:moveTo>
                  <a:cubicBezTo>
                    <a:pt x="0" y="265"/>
                    <a:pt x="54" y="340"/>
                    <a:pt x="156" y="340"/>
                  </a:cubicBezTo>
                  <a:cubicBezTo>
                    <a:pt x="258" y="340"/>
                    <a:pt x="312" y="265"/>
                    <a:pt x="312" y="170"/>
                  </a:cubicBezTo>
                  <a:cubicBezTo>
                    <a:pt x="312" y="75"/>
                    <a:pt x="258" y="0"/>
                    <a:pt x="156" y="0"/>
                  </a:cubicBezTo>
                  <a:cubicBezTo>
                    <a:pt x="54" y="0"/>
                    <a:pt x="0" y="75"/>
                    <a:pt x="0" y="17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38"/>
            <p:cNvSpPr>
              <a:spLocks/>
            </p:cNvSpPr>
            <p:nvPr userDrawn="1"/>
          </p:nvSpPr>
          <p:spPr bwMode="auto">
            <a:xfrm>
              <a:off x="5024" y="757"/>
              <a:ext cx="109" cy="80"/>
            </a:xfrm>
            <a:custGeom>
              <a:avLst/>
              <a:gdLst>
                <a:gd name="T0" fmla="*/ 0 w 452"/>
                <a:gd name="T1" fmla="*/ 332 h 332"/>
                <a:gd name="T2" fmla="*/ 52 w 452"/>
                <a:gd name="T3" fmla="*/ 332 h 332"/>
                <a:gd name="T4" fmla="*/ 52 w 452"/>
                <a:gd name="T5" fmla="*/ 130 h 332"/>
                <a:gd name="T6" fmla="*/ 139 w 452"/>
                <a:gd name="T7" fmla="*/ 47 h 332"/>
                <a:gd name="T8" fmla="*/ 200 w 452"/>
                <a:gd name="T9" fmla="*/ 119 h 332"/>
                <a:gd name="T10" fmla="*/ 200 w 452"/>
                <a:gd name="T11" fmla="*/ 332 h 332"/>
                <a:gd name="T12" fmla="*/ 252 w 452"/>
                <a:gd name="T13" fmla="*/ 332 h 332"/>
                <a:gd name="T14" fmla="*/ 252 w 452"/>
                <a:gd name="T15" fmla="*/ 130 h 332"/>
                <a:gd name="T16" fmla="*/ 337 w 452"/>
                <a:gd name="T17" fmla="*/ 47 h 332"/>
                <a:gd name="T18" fmla="*/ 400 w 452"/>
                <a:gd name="T19" fmla="*/ 119 h 332"/>
                <a:gd name="T20" fmla="*/ 400 w 452"/>
                <a:gd name="T21" fmla="*/ 332 h 332"/>
                <a:gd name="T22" fmla="*/ 452 w 452"/>
                <a:gd name="T23" fmla="*/ 332 h 332"/>
                <a:gd name="T24" fmla="*/ 452 w 452"/>
                <a:gd name="T25" fmla="*/ 94 h 332"/>
                <a:gd name="T26" fmla="*/ 345 w 452"/>
                <a:gd name="T27" fmla="*/ 0 h 332"/>
                <a:gd name="T28" fmla="*/ 243 w 452"/>
                <a:gd name="T29" fmla="*/ 55 h 332"/>
                <a:gd name="T30" fmla="*/ 155 w 452"/>
                <a:gd name="T31" fmla="*/ 0 h 332"/>
                <a:gd name="T32" fmla="*/ 50 w 452"/>
                <a:gd name="T33" fmla="*/ 55 h 332"/>
                <a:gd name="T34" fmla="*/ 49 w 452"/>
                <a:gd name="T35" fmla="*/ 55 h 332"/>
                <a:gd name="T36" fmla="*/ 49 w 452"/>
                <a:gd name="T37" fmla="*/ 8 h 332"/>
                <a:gd name="T38" fmla="*/ 0 w 452"/>
                <a:gd name="T39" fmla="*/ 8 h 332"/>
                <a:gd name="T40" fmla="*/ 0 w 452"/>
                <a:gd name="T41"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 h="332">
                  <a:moveTo>
                    <a:pt x="0" y="332"/>
                  </a:moveTo>
                  <a:cubicBezTo>
                    <a:pt x="52" y="332"/>
                    <a:pt x="52" y="332"/>
                    <a:pt x="52" y="332"/>
                  </a:cubicBezTo>
                  <a:cubicBezTo>
                    <a:pt x="52" y="130"/>
                    <a:pt x="52" y="130"/>
                    <a:pt x="52" y="130"/>
                  </a:cubicBezTo>
                  <a:cubicBezTo>
                    <a:pt x="52" y="105"/>
                    <a:pt x="75" y="47"/>
                    <a:pt x="139" y="47"/>
                  </a:cubicBezTo>
                  <a:cubicBezTo>
                    <a:pt x="187" y="47"/>
                    <a:pt x="200" y="77"/>
                    <a:pt x="200" y="119"/>
                  </a:cubicBezTo>
                  <a:cubicBezTo>
                    <a:pt x="200" y="332"/>
                    <a:pt x="200" y="332"/>
                    <a:pt x="200" y="332"/>
                  </a:cubicBezTo>
                  <a:cubicBezTo>
                    <a:pt x="252" y="332"/>
                    <a:pt x="252" y="332"/>
                    <a:pt x="252" y="332"/>
                  </a:cubicBezTo>
                  <a:cubicBezTo>
                    <a:pt x="252" y="130"/>
                    <a:pt x="252" y="130"/>
                    <a:pt x="252" y="130"/>
                  </a:cubicBezTo>
                  <a:cubicBezTo>
                    <a:pt x="252" y="80"/>
                    <a:pt x="285" y="47"/>
                    <a:pt x="337" y="47"/>
                  </a:cubicBezTo>
                  <a:cubicBezTo>
                    <a:pt x="389" y="47"/>
                    <a:pt x="400" y="79"/>
                    <a:pt x="400" y="119"/>
                  </a:cubicBezTo>
                  <a:cubicBezTo>
                    <a:pt x="400" y="332"/>
                    <a:pt x="400" y="332"/>
                    <a:pt x="400" y="332"/>
                  </a:cubicBezTo>
                  <a:cubicBezTo>
                    <a:pt x="452" y="332"/>
                    <a:pt x="452" y="332"/>
                    <a:pt x="452" y="332"/>
                  </a:cubicBezTo>
                  <a:cubicBezTo>
                    <a:pt x="452" y="94"/>
                    <a:pt x="452" y="94"/>
                    <a:pt x="452" y="94"/>
                  </a:cubicBezTo>
                  <a:cubicBezTo>
                    <a:pt x="452" y="27"/>
                    <a:pt x="410" y="0"/>
                    <a:pt x="345" y="0"/>
                  </a:cubicBezTo>
                  <a:cubicBezTo>
                    <a:pt x="303" y="0"/>
                    <a:pt x="265" y="21"/>
                    <a:pt x="243" y="55"/>
                  </a:cubicBezTo>
                  <a:cubicBezTo>
                    <a:pt x="230" y="16"/>
                    <a:pt x="195" y="0"/>
                    <a:pt x="155" y="0"/>
                  </a:cubicBezTo>
                  <a:cubicBezTo>
                    <a:pt x="110" y="0"/>
                    <a:pt x="74" y="19"/>
                    <a:pt x="50" y="55"/>
                  </a:cubicBezTo>
                  <a:cubicBezTo>
                    <a:pt x="49" y="55"/>
                    <a:pt x="49" y="55"/>
                    <a:pt x="49" y="55"/>
                  </a:cubicBezTo>
                  <a:cubicBezTo>
                    <a:pt x="49" y="8"/>
                    <a:pt x="49" y="8"/>
                    <a:pt x="49" y="8"/>
                  </a:cubicBezTo>
                  <a:cubicBezTo>
                    <a:pt x="0" y="8"/>
                    <a:pt x="0" y="8"/>
                    <a:pt x="0" y="8"/>
                  </a:cubicBezTo>
                  <a:lnTo>
                    <a:pt x="0" y="332"/>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39"/>
            <p:cNvSpPr>
              <a:spLocks/>
            </p:cNvSpPr>
            <p:nvPr userDrawn="1"/>
          </p:nvSpPr>
          <p:spPr bwMode="auto">
            <a:xfrm>
              <a:off x="5146" y="757"/>
              <a:ext cx="67" cy="82"/>
            </a:xfrm>
            <a:custGeom>
              <a:avLst/>
              <a:gdLst>
                <a:gd name="T0" fmla="*/ 0 w 275"/>
                <a:gd name="T1" fmla="*/ 230 h 340"/>
                <a:gd name="T2" fmla="*/ 137 w 275"/>
                <a:gd name="T3" fmla="*/ 340 h 340"/>
                <a:gd name="T4" fmla="*/ 275 w 275"/>
                <a:gd name="T5" fmla="*/ 238 h 340"/>
                <a:gd name="T6" fmla="*/ 169 w 275"/>
                <a:gd name="T7" fmla="*/ 145 h 340"/>
                <a:gd name="T8" fmla="*/ 63 w 275"/>
                <a:gd name="T9" fmla="*/ 89 h 340"/>
                <a:gd name="T10" fmla="*/ 132 w 275"/>
                <a:gd name="T11" fmla="*/ 47 h 340"/>
                <a:gd name="T12" fmla="*/ 208 w 275"/>
                <a:gd name="T13" fmla="*/ 102 h 340"/>
                <a:gd name="T14" fmla="*/ 259 w 275"/>
                <a:gd name="T15" fmla="*/ 102 h 340"/>
                <a:gd name="T16" fmla="*/ 128 w 275"/>
                <a:gd name="T17" fmla="*/ 0 h 340"/>
                <a:gd name="T18" fmla="*/ 8 w 275"/>
                <a:gd name="T19" fmla="*/ 92 h 340"/>
                <a:gd name="T20" fmla="*/ 113 w 275"/>
                <a:gd name="T21" fmla="*/ 184 h 340"/>
                <a:gd name="T22" fmla="*/ 220 w 275"/>
                <a:gd name="T23" fmla="*/ 244 h 340"/>
                <a:gd name="T24" fmla="*/ 140 w 275"/>
                <a:gd name="T25" fmla="*/ 293 h 340"/>
                <a:gd name="T26" fmla="*/ 51 w 275"/>
                <a:gd name="T27" fmla="*/ 230 h 340"/>
                <a:gd name="T28" fmla="*/ 0 w 275"/>
                <a:gd name="T29" fmla="*/ 23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340">
                  <a:moveTo>
                    <a:pt x="0" y="230"/>
                  </a:moveTo>
                  <a:cubicBezTo>
                    <a:pt x="3" y="310"/>
                    <a:pt x="63" y="340"/>
                    <a:pt x="137" y="340"/>
                  </a:cubicBezTo>
                  <a:cubicBezTo>
                    <a:pt x="204" y="340"/>
                    <a:pt x="275" y="315"/>
                    <a:pt x="275" y="238"/>
                  </a:cubicBezTo>
                  <a:cubicBezTo>
                    <a:pt x="275" y="175"/>
                    <a:pt x="224" y="157"/>
                    <a:pt x="169" y="145"/>
                  </a:cubicBezTo>
                  <a:cubicBezTo>
                    <a:pt x="120" y="133"/>
                    <a:pt x="63" y="127"/>
                    <a:pt x="63" y="89"/>
                  </a:cubicBezTo>
                  <a:cubicBezTo>
                    <a:pt x="63" y="56"/>
                    <a:pt x="100" y="47"/>
                    <a:pt x="132" y="47"/>
                  </a:cubicBezTo>
                  <a:cubicBezTo>
                    <a:pt x="168" y="47"/>
                    <a:pt x="204" y="60"/>
                    <a:pt x="208" y="102"/>
                  </a:cubicBezTo>
                  <a:cubicBezTo>
                    <a:pt x="259" y="102"/>
                    <a:pt x="259" y="102"/>
                    <a:pt x="259" y="102"/>
                  </a:cubicBezTo>
                  <a:cubicBezTo>
                    <a:pt x="255" y="23"/>
                    <a:pt x="200" y="0"/>
                    <a:pt x="128" y="0"/>
                  </a:cubicBezTo>
                  <a:cubicBezTo>
                    <a:pt x="71" y="0"/>
                    <a:pt x="8" y="27"/>
                    <a:pt x="8" y="92"/>
                  </a:cubicBezTo>
                  <a:cubicBezTo>
                    <a:pt x="8" y="155"/>
                    <a:pt x="60" y="172"/>
                    <a:pt x="113" y="184"/>
                  </a:cubicBezTo>
                  <a:cubicBezTo>
                    <a:pt x="166" y="196"/>
                    <a:pt x="220" y="203"/>
                    <a:pt x="220" y="244"/>
                  </a:cubicBezTo>
                  <a:cubicBezTo>
                    <a:pt x="220" y="285"/>
                    <a:pt x="174" y="293"/>
                    <a:pt x="140" y="293"/>
                  </a:cubicBezTo>
                  <a:cubicBezTo>
                    <a:pt x="95" y="293"/>
                    <a:pt x="53" y="278"/>
                    <a:pt x="51" y="230"/>
                  </a:cubicBezTo>
                  <a:lnTo>
                    <a:pt x="0" y="23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40"/>
            <p:cNvSpPr>
              <a:spLocks noChangeArrowheads="1"/>
            </p:cNvSpPr>
            <p:nvPr userDrawn="1"/>
          </p:nvSpPr>
          <p:spPr bwMode="auto">
            <a:xfrm>
              <a:off x="4430" y="293"/>
              <a:ext cx="14" cy="544"/>
            </a:xfrm>
            <a:prstGeom prst="rect">
              <a:avLst/>
            </a:prstGeom>
            <a:solidFill>
              <a:srgbClr val="008A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1"/>
            <p:cNvSpPr>
              <a:spLocks noEditPoints="1"/>
            </p:cNvSpPr>
            <p:nvPr userDrawn="1"/>
          </p:nvSpPr>
          <p:spPr bwMode="auto">
            <a:xfrm>
              <a:off x="4493" y="293"/>
              <a:ext cx="228" cy="228"/>
            </a:xfrm>
            <a:custGeom>
              <a:avLst/>
              <a:gdLst>
                <a:gd name="T0" fmla="*/ 474 w 948"/>
                <a:gd name="T1" fmla="*/ 892 h 948"/>
                <a:gd name="T2" fmla="*/ 892 w 948"/>
                <a:gd name="T3" fmla="*/ 474 h 948"/>
                <a:gd name="T4" fmla="*/ 474 w 948"/>
                <a:gd name="T5" fmla="*/ 55 h 948"/>
                <a:gd name="T6" fmla="*/ 56 w 948"/>
                <a:gd name="T7" fmla="*/ 474 h 948"/>
                <a:gd name="T8" fmla="*/ 474 w 948"/>
                <a:gd name="T9" fmla="*/ 892 h 948"/>
                <a:gd name="T10" fmla="*/ 474 w 948"/>
                <a:gd name="T11" fmla="*/ 0 h 948"/>
                <a:gd name="T12" fmla="*/ 948 w 948"/>
                <a:gd name="T13" fmla="*/ 474 h 948"/>
                <a:gd name="T14" fmla="*/ 474 w 948"/>
                <a:gd name="T15" fmla="*/ 948 h 948"/>
                <a:gd name="T16" fmla="*/ 0 w 948"/>
                <a:gd name="T17" fmla="*/ 474 h 948"/>
                <a:gd name="T18" fmla="*/ 474 w 948"/>
                <a:gd name="T1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8" h="948">
                  <a:moveTo>
                    <a:pt x="474" y="892"/>
                  </a:moveTo>
                  <a:cubicBezTo>
                    <a:pt x="705" y="892"/>
                    <a:pt x="892" y="705"/>
                    <a:pt x="892" y="474"/>
                  </a:cubicBezTo>
                  <a:cubicBezTo>
                    <a:pt x="892" y="243"/>
                    <a:pt x="705" y="55"/>
                    <a:pt x="474" y="55"/>
                  </a:cubicBezTo>
                  <a:cubicBezTo>
                    <a:pt x="243" y="55"/>
                    <a:pt x="56" y="243"/>
                    <a:pt x="56" y="474"/>
                  </a:cubicBezTo>
                  <a:cubicBezTo>
                    <a:pt x="56" y="705"/>
                    <a:pt x="243" y="892"/>
                    <a:pt x="474" y="892"/>
                  </a:cubicBezTo>
                  <a:close/>
                  <a:moveTo>
                    <a:pt x="474" y="0"/>
                  </a:moveTo>
                  <a:cubicBezTo>
                    <a:pt x="735" y="0"/>
                    <a:pt x="948" y="213"/>
                    <a:pt x="948" y="474"/>
                  </a:cubicBezTo>
                  <a:cubicBezTo>
                    <a:pt x="948" y="735"/>
                    <a:pt x="735" y="948"/>
                    <a:pt x="474" y="948"/>
                  </a:cubicBezTo>
                  <a:cubicBezTo>
                    <a:pt x="213" y="948"/>
                    <a:pt x="0" y="735"/>
                    <a:pt x="0" y="474"/>
                  </a:cubicBezTo>
                  <a:cubicBezTo>
                    <a:pt x="0" y="213"/>
                    <a:pt x="213" y="0"/>
                    <a:pt x="47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Oval 42"/>
            <p:cNvSpPr>
              <a:spLocks noChangeArrowheads="1"/>
            </p:cNvSpPr>
            <p:nvPr userDrawn="1"/>
          </p:nvSpPr>
          <p:spPr bwMode="auto">
            <a:xfrm>
              <a:off x="4597" y="352"/>
              <a:ext cx="18" cy="1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3"/>
            <p:cNvSpPr>
              <a:spLocks noEditPoints="1"/>
            </p:cNvSpPr>
            <p:nvPr userDrawn="1"/>
          </p:nvSpPr>
          <p:spPr bwMode="auto">
            <a:xfrm>
              <a:off x="4539" y="403"/>
              <a:ext cx="134" cy="60"/>
            </a:xfrm>
            <a:custGeom>
              <a:avLst/>
              <a:gdLst>
                <a:gd name="T0" fmla="*/ 432 w 553"/>
                <a:gd name="T1" fmla="*/ 216 h 248"/>
                <a:gd name="T2" fmla="*/ 433 w 553"/>
                <a:gd name="T3" fmla="*/ 188 h 248"/>
                <a:gd name="T4" fmla="*/ 367 w 553"/>
                <a:gd name="T5" fmla="*/ 203 h 248"/>
                <a:gd name="T6" fmla="*/ 120 w 553"/>
                <a:gd name="T7" fmla="*/ 188 h 248"/>
                <a:gd name="T8" fmla="*/ 122 w 553"/>
                <a:gd name="T9" fmla="*/ 216 h 248"/>
                <a:gd name="T10" fmla="*/ 186 w 553"/>
                <a:gd name="T11" fmla="*/ 195 h 248"/>
                <a:gd name="T12" fmla="*/ 254 w 553"/>
                <a:gd name="T13" fmla="*/ 194 h 248"/>
                <a:gd name="T14" fmla="*/ 279 w 553"/>
                <a:gd name="T15" fmla="*/ 219 h 248"/>
                <a:gd name="T16" fmla="*/ 279 w 553"/>
                <a:gd name="T17" fmla="*/ 174 h 248"/>
                <a:gd name="T18" fmla="*/ 538 w 553"/>
                <a:gd name="T19" fmla="*/ 187 h 248"/>
                <a:gd name="T20" fmla="*/ 511 w 553"/>
                <a:gd name="T21" fmla="*/ 210 h 248"/>
                <a:gd name="T22" fmla="*/ 531 w 553"/>
                <a:gd name="T23" fmla="*/ 241 h 248"/>
                <a:gd name="T24" fmla="*/ 23 w 553"/>
                <a:gd name="T25" fmla="*/ 241 h 248"/>
                <a:gd name="T26" fmla="*/ 40 w 553"/>
                <a:gd name="T27" fmla="*/ 213 h 248"/>
                <a:gd name="T28" fmla="*/ 15 w 553"/>
                <a:gd name="T29" fmla="*/ 189 h 248"/>
                <a:gd name="T30" fmla="*/ 2 w 553"/>
                <a:gd name="T31" fmla="*/ 74 h 248"/>
                <a:gd name="T32" fmla="*/ 52 w 553"/>
                <a:gd name="T33" fmla="*/ 67 h 248"/>
                <a:gd name="T34" fmla="*/ 22 w 553"/>
                <a:gd name="T35" fmla="*/ 115 h 248"/>
                <a:gd name="T36" fmla="*/ 64 w 553"/>
                <a:gd name="T37" fmla="*/ 75 h 248"/>
                <a:gd name="T38" fmla="*/ 75 w 553"/>
                <a:gd name="T39" fmla="*/ 160 h 248"/>
                <a:gd name="T40" fmla="*/ 24 w 553"/>
                <a:gd name="T41" fmla="*/ 132 h 248"/>
                <a:gd name="T42" fmla="*/ 106 w 553"/>
                <a:gd name="T43" fmla="*/ 168 h 248"/>
                <a:gd name="T44" fmla="*/ 115 w 553"/>
                <a:gd name="T45" fmla="*/ 120 h 248"/>
                <a:gd name="T46" fmla="*/ 94 w 553"/>
                <a:gd name="T47" fmla="*/ 139 h 248"/>
                <a:gd name="T48" fmla="*/ 118 w 553"/>
                <a:gd name="T49" fmla="*/ 55 h 248"/>
                <a:gd name="T50" fmla="*/ 152 w 553"/>
                <a:gd name="T51" fmla="*/ 108 h 248"/>
                <a:gd name="T52" fmla="*/ 177 w 553"/>
                <a:gd name="T53" fmla="*/ 146 h 248"/>
                <a:gd name="T54" fmla="*/ 157 w 553"/>
                <a:gd name="T55" fmla="*/ 130 h 248"/>
                <a:gd name="T56" fmla="*/ 189 w 553"/>
                <a:gd name="T57" fmla="*/ 163 h 248"/>
                <a:gd name="T58" fmla="*/ 234 w 553"/>
                <a:gd name="T59" fmla="*/ 161 h 248"/>
                <a:gd name="T60" fmla="*/ 225 w 553"/>
                <a:gd name="T61" fmla="*/ 152 h 248"/>
                <a:gd name="T62" fmla="*/ 221 w 553"/>
                <a:gd name="T63" fmla="*/ 71 h 248"/>
                <a:gd name="T64" fmla="*/ 228 w 553"/>
                <a:gd name="T65" fmla="*/ 71 h 248"/>
                <a:gd name="T66" fmla="*/ 234 w 553"/>
                <a:gd name="T67" fmla="*/ 61 h 248"/>
                <a:gd name="T68" fmla="*/ 231 w 553"/>
                <a:gd name="T69" fmla="*/ 58 h 248"/>
                <a:gd name="T70" fmla="*/ 319 w 553"/>
                <a:gd name="T71" fmla="*/ 55 h 248"/>
                <a:gd name="T72" fmla="*/ 323 w 553"/>
                <a:gd name="T73" fmla="*/ 58 h 248"/>
                <a:gd name="T74" fmla="*/ 287 w 553"/>
                <a:gd name="T75" fmla="*/ 101 h 248"/>
                <a:gd name="T76" fmla="*/ 333 w 553"/>
                <a:gd name="T77" fmla="*/ 71 h 248"/>
                <a:gd name="T78" fmla="*/ 333 w 553"/>
                <a:gd name="T79" fmla="*/ 149 h 248"/>
                <a:gd name="T80" fmla="*/ 287 w 553"/>
                <a:gd name="T81" fmla="*/ 120 h 248"/>
                <a:gd name="T82" fmla="*/ 321 w 553"/>
                <a:gd name="T83" fmla="*/ 162 h 248"/>
                <a:gd name="T84" fmla="*/ 397 w 553"/>
                <a:gd name="T85" fmla="*/ 138 h 248"/>
                <a:gd name="T86" fmla="*/ 372 w 553"/>
                <a:gd name="T87" fmla="*/ 136 h 248"/>
                <a:gd name="T88" fmla="*/ 369 w 553"/>
                <a:gd name="T89" fmla="*/ 89 h 248"/>
                <a:gd name="T90" fmla="*/ 417 w 553"/>
                <a:gd name="T91" fmla="*/ 0 h 248"/>
                <a:gd name="T92" fmla="*/ 453 w 553"/>
                <a:gd name="T93" fmla="*/ 94 h 248"/>
                <a:gd name="T94" fmla="*/ 444 w 553"/>
                <a:gd name="T95" fmla="*/ 140 h 248"/>
                <a:gd name="T96" fmla="*/ 419 w 553"/>
                <a:gd name="T97" fmla="*/ 141 h 248"/>
                <a:gd name="T98" fmla="*/ 492 w 553"/>
                <a:gd name="T99" fmla="*/ 172 h 248"/>
                <a:gd name="T100" fmla="*/ 481 w 553"/>
                <a:gd name="T101" fmla="*/ 163 h 248"/>
                <a:gd name="T102" fmla="*/ 489 w 553"/>
                <a:gd name="T103" fmla="*/ 76 h 248"/>
                <a:gd name="T104" fmla="*/ 495 w 553"/>
                <a:gd name="T105" fmla="*/ 76 h 248"/>
                <a:gd name="T106" fmla="*/ 503 w 553"/>
                <a:gd name="T107" fmla="*/ 71 h 248"/>
                <a:gd name="T108" fmla="*/ 543 w 553"/>
                <a:gd name="T109" fmla="*/ 6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3" h="248">
                  <a:moveTo>
                    <a:pt x="367" y="203"/>
                  </a:moveTo>
                  <a:cubicBezTo>
                    <a:pt x="366" y="208"/>
                    <a:pt x="371" y="213"/>
                    <a:pt x="376" y="213"/>
                  </a:cubicBezTo>
                  <a:cubicBezTo>
                    <a:pt x="432" y="216"/>
                    <a:pt x="432" y="216"/>
                    <a:pt x="432" y="216"/>
                  </a:cubicBezTo>
                  <a:cubicBezTo>
                    <a:pt x="437" y="217"/>
                    <a:pt x="442" y="212"/>
                    <a:pt x="442" y="207"/>
                  </a:cubicBezTo>
                  <a:cubicBezTo>
                    <a:pt x="443" y="199"/>
                    <a:pt x="443" y="199"/>
                    <a:pt x="443" y="199"/>
                  </a:cubicBezTo>
                  <a:cubicBezTo>
                    <a:pt x="443" y="193"/>
                    <a:pt x="439" y="188"/>
                    <a:pt x="433" y="188"/>
                  </a:cubicBezTo>
                  <a:cubicBezTo>
                    <a:pt x="378" y="185"/>
                    <a:pt x="378" y="185"/>
                    <a:pt x="378" y="185"/>
                  </a:cubicBezTo>
                  <a:cubicBezTo>
                    <a:pt x="372" y="185"/>
                    <a:pt x="367" y="189"/>
                    <a:pt x="367" y="195"/>
                  </a:cubicBezTo>
                  <a:lnTo>
                    <a:pt x="367" y="203"/>
                  </a:lnTo>
                  <a:close/>
                  <a:moveTo>
                    <a:pt x="186" y="195"/>
                  </a:moveTo>
                  <a:cubicBezTo>
                    <a:pt x="186" y="189"/>
                    <a:pt x="181" y="185"/>
                    <a:pt x="176" y="185"/>
                  </a:cubicBezTo>
                  <a:cubicBezTo>
                    <a:pt x="120" y="188"/>
                    <a:pt x="120" y="188"/>
                    <a:pt x="120" y="188"/>
                  </a:cubicBezTo>
                  <a:cubicBezTo>
                    <a:pt x="114" y="188"/>
                    <a:pt x="110" y="193"/>
                    <a:pt x="110" y="199"/>
                  </a:cubicBezTo>
                  <a:cubicBezTo>
                    <a:pt x="111" y="207"/>
                    <a:pt x="111" y="207"/>
                    <a:pt x="111" y="207"/>
                  </a:cubicBezTo>
                  <a:cubicBezTo>
                    <a:pt x="111" y="212"/>
                    <a:pt x="116" y="217"/>
                    <a:pt x="122" y="216"/>
                  </a:cubicBezTo>
                  <a:cubicBezTo>
                    <a:pt x="177" y="213"/>
                    <a:pt x="177" y="213"/>
                    <a:pt x="177" y="213"/>
                  </a:cubicBezTo>
                  <a:cubicBezTo>
                    <a:pt x="183" y="213"/>
                    <a:pt x="187" y="208"/>
                    <a:pt x="187" y="203"/>
                  </a:cubicBezTo>
                  <a:lnTo>
                    <a:pt x="186" y="195"/>
                  </a:lnTo>
                  <a:close/>
                  <a:moveTo>
                    <a:pt x="279" y="174"/>
                  </a:moveTo>
                  <a:cubicBezTo>
                    <a:pt x="278" y="173"/>
                    <a:pt x="275" y="173"/>
                    <a:pt x="274" y="174"/>
                  </a:cubicBezTo>
                  <a:cubicBezTo>
                    <a:pt x="254" y="194"/>
                    <a:pt x="254" y="194"/>
                    <a:pt x="254" y="194"/>
                  </a:cubicBezTo>
                  <a:cubicBezTo>
                    <a:pt x="252" y="195"/>
                    <a:pt x="252" y="198"/>
                    <a:pt x="254" y="199"/>
                  </a:cubicBezTo>
                  <a:cubicBezTo>
                    <a:pt x="274" y="219"/>
                    <a:pt x="274" y="219"/>
                    <a:pt x="274" y="219"/>
                  </a:cubicBezTo>
                  <a:cubicBezTo>
                    <a:pt x="275" y="221"/>
                    <a:pt x="278" y="221"/>
                    <a:pt x="279" y="219"/>
                  </a:cubicBezTo>
                  <a:cubicBezTo>
                    <a:pt x="299" y="199"/>
                    <a:pt x="299" y="199"/>
                    <a:pt x="299" y="199"/>
                  </a:cubicBezTo>
                  <a:cubicBezTo>
                    <a:pt x="301" y="198"/>
                    <a:pt x="301" y="195"/>
                    <a:pt x="299" y="194"/>
                  </a:cubicBezTo>
                  <a:lnTo>
                    <a:pt x="279" y="174"/>
                  </a:lnTo>
                  <a:close/>
                  <a:moveTo>
                    <a:pt x="552" y="84"/>
                  </a:moveTo>
                  <a:cubicBezTo>
                    <a:pt x="551" y="90"/>
                    <a:pt x="539" y="178"/>
                    <a:pt x="539" y="179"/>
                  </a:cubicBezTo>
                  <a:cubicBezTo>
                    <a:pt x="538" y="187"/>
                    <a:pt x="538" y="187"/>
                    <a:pt x="538" y="187"/>
                  </a:cubicBezTo>
                  <a:cubicBezTo>
                    <a:pt x="538" y="187"/>
                    <a:pt x="537" y="191"/>
                    <a:pt x="533" y="194"/>
                  </a:cubicBezTo>
                  <a:cubicBezTo>
                    <a:pt x="530" y="196"/>
                    <a:pt x="513" y="207"/>
                    <a:pt x="513" y="207"/>
                  </a:cubicBezTo>
                  <a:cubicBezTo>
                    <a:pt x="513" y="207"/>
                    <a:pt x="511" y="209"/>
                    <a:pt x="511" y="210"/>
                  </a:cubicBezTo>
                  <a:cubicBezTo>
                    <a:pt x="511" y="212"/>
                    <a:pt x="512" y="214"/>
                    <a:pt x="512" y="214"/>
                  </a:cubicBezTo>
                  <a:cubicBezTo>
                    <a:pt x="528" y="235"/>
                    <a:pt x="528" y="235"/>
                    <a:pt x="528" y="235"/>
                  </a:cubicBezTo>
                  <a:cubicBezTo>
                    <a:pt x="530" y="237"/>
                    <a:pt x="531" y="239"/>
                    <a:pt x="531" y="241"/>
                  </a:cubicBezTo>
                  <a:cubicBezTo>
                    <a:pt x="531" y="244"/>
                    <a:pt x="530" y="247"/>
                    <a:pt x="527" y="248"/>
                  </a:cubicBezTo>
                  <a:cubicBezTo>
                    <a:pt x="26" y="248"/>
                    <a:pt x="26" y="248"/>
                    <a:pt x="26" y="248"/>
                  </a:cubicBezTo>
                  <a:cubicBezTo>
                    <a:pt x="24" y="246"/>
                    <a:pt x="23" y="244"/>
                    <a:pt x="23" y="241"/>
                  </a:cubicBezTo>
                  <a:cubicBezTo>
                    <a:pt x="23" y="240"/>
                    <a:pt x="23" y="239"/>
                    <a:pt x="23" y="238"/>
                  </a:cubicBezTo>
                  <a:cubicBezTo>
                    <a:pt x="23" y="238"/>
                    <a:pt x="24" y="237"/>
                    <a:pt x="25" y="236"/>
                  </a:cubicBezTo>
                  <a:cubicBezTo>
                    <a:pt x="40" y="213"/>
                    <a:pt x="40" y="213"/>
                    <a:pt x="40" y="213"/>
                  </a:cubicBezTo>
                  <a:cubicBezTo>
                    <a:pt x="40" y="213"/>
                    <a:pt x="42" y="210"/>
                    <a:pt x="39" y="207"/>
                  </a:cubicBezTo>
                  <a:cubicBezTo>
                    <a:pt x="36" y="205"/>
                    <a:pt x="19" y="194"/>
                    <a:pt x="19" y="194"/>
                  </a:cubicBezTo>
                  <a:cubicBezTo>
                    <a:pt x="19" y="194"/>
                    <a:pt x="16" y="191"/>
                    <a:pt x="15" y="189"/>
                  </a:cubicBezTo>
                  <a:cubicBezTo>
                    <a:pt x="14" y="178"/>
                    <a:pt x="14" y="178"/>
                    <a:pt x="14" y="178"/>
                  </a:cubicBezTo>
                  <a:cubicBezTo>
                    <a:pt x="13" y="171"/>
                    <a:pt x="2" y="90"/>
                    <a:pt x="1" y="84"/>
                  </a:cubicBezTo>
                  <a:cubicBezTo>
                    <a:pt x="0" y="80"/>
                    <a:pt x="0" y="76"/>
                    <a:pt x="2" y="74"/>
                  </a:cubicBezTo>
                  <a:cubicBezTo>
                    <a:pt x="4" y="71"/>
                    <a:pt x="7" y="70"/>
                    <a:pt x="10" y="69"/>
                  </a:cubicBezTo>
                  <a:cubicBezTo>
                    <a:pt x="12" y="69"/>
                    <a:pt x="45" y="64"/>
                    <a:pt x="49" y="64"/>
                  </a:cubicBezTo>
                  <a:cubicBezTo>
                    <a:pt x="50" y="64"/>
                    <a:pt x="51" y="65"/>
                    <a:pt x="52" y="67"/>
                  </a:cubicBezTo>
                  <a:cubicBezTo>
                    <a:pt x="52" y="69"/>
                    <a:pt x="51" y="70"/>
                    <a:pt x="50" y="71"/>
                  </a:cubicBezTo>
                  <a:cubicBezTo>
                    <a:pt x="50" y="70"/>
                    <a:pt x="50" y="70"/>
                    <a:pt x="50" y="70"/>
                  </a:cubicBezTo>
                  <a:cubicBezTo>
                    <a:pt x="32" y="79"/>
                    <a:pt x="22" y="95"/>
                    <a:pt x="22" y="115"/>
                  </a:cubicBezTo>
                  <a:cubicBezTo>
                    <a:pt x="49" y="110"/>
                    <a:pt x="56" y="96"/>
                    <a:pt x="58" y="76"/>
                  </a:cubicBezTo>
                  <a:cubicBezTo>
                    <a:pt x="58" y="75"/>
                    <a:pt x="59" y="74"/>
                    <a:pt x="61" y="74"/>
                  </a:cubicBezTo>
                  <a:cubicBezTo>
                    <a:pt x="63" y="73"/>
                    <a:pt x="64" y="74"/>
                    <a:pt x="64" y="75"/>
                  </a:cubicBezTo>
                  <a:cubicBezTo>
                    <a:pt x="64" y="76"/>
                    <a:pt x="64" y="76"/>
                    <a:pt x="64" y="76"/>
                  </a:cubicBezTo>
                  <a:cubicBezTo>
                    <a:pt x="75" y="160"/>
                    <a:pt x="75" y="160"/>
                    <a:pt x="75" y="160"/>
                  </a:cubicBezTo>
                  <a:cubicBezTo>
                    <a:pt x="75" y="160"/>
                    <a:pt x="75" y="160"/>
                    <a:pt x="75" y="160"/>
                  </a:cubicBezTo>
                  <a:cubicBezTo>
                    <a:pt x="75" y="161"/>
                    <a:pt x="74" y="163"/>
                    <a:pt x="72" y="163"/>
                  </a:cubicBezTo>
                  <a:cubicBezTo>
                    <a:pt x="70" y="163"/>
                    <a:pt x="69" y="162"/>
                    <a:pt x="68" y="161"/>
                  </a:cubicBezTo>
                  <a:cubicBezTo>
                    <a:pt x="60" y="143"/>
                    <a:pt x="44" y="133"/>
                    <a:pt x="24" y="132"/>
                  </a:cubicBezTo>
                  <a:cubicBezTo>
                    <a:pt x="29" y="152"/>
                    <a:pt x="44" y="167"/>
                    <a:pt x="63" y="172"/>
                  </a:cubicBezTo>
                  <a:cubicBezTo>
                    <a:pt x="63" y="173"/>
                    <a:pt x="63" y="173"/>
                    <a:pt x="63" y="173"/>
                  </a:cubicBezTo>
                  <a:cubicBezTo>
                    <a:pt x="77" y="171"/>
                    <a:pt x="92" y="170"/>
                    <a:pt x="106" y="168"/>
                  </a:cubicBezTo>
                  <a:cubicBezTo>
                    <a:pt x="120" y="164"/>
                    <a:pt x="131" y="157"/>
                    <a:pt x="134" y="139"/>
                  </a:cubicBezTo>
                  <a:cubicBezTo>
                    <a:pt x="134" y="137"/>
                    <a:pt x="134" y="135"/>
                    <a:pt x="133" y="133"/>
                  </a:cubicBezTo>
                  <a:cubicBezTo>
                    <a:pt x="129" y="123"/>
                    <a:pt x="122" y="117"/>
                    <a:pt x="115" y="120"/>
                  </a:cubicBezTo>
                  <a:cubicBezTo>
                    <a:pt x="107" y="123"/>
                    <a:pt x="106" y="132"/>
                    <a:pt x="109" y="141"/>
                  </a:cubicBezTo>
                  <a:cubicBezTo>
                    <a:pt x="111" y="145"/>
                    <a:pt x="113" y="148"/>
                    <a:pt x="116" y="151"/>
                  </a:cubicBezTo>
                  <a:cubicBezTo>
                    <a:pt x="107" y="151"/>
                    <a:pt x="100" y="148"/>
                    <a:pt x="94" y="139"/>
                  </a:cubicBezTo>
                  <a:cubicBezTo>
                    <a:pt x="84" y="125"/>
                    <a:pt x="85" y="104"/>
                    <a:pt x="101" y="95"/>
                  </a:cubicBezTo>
                  <a:cubicBezTo>
                    <a:pt x="111" y="89"/>
                    <a:pt x="124" y="96"/>
                    <a:pt x="135" y="109"/>
                  </a:cubicBezTo>
                  <a:cubicBezTo>
                    <a:pt x="132" y="89"/>
                    <a:pt x="119" y="70"/>
                    <a:pt x="118" y="55"/>
                  </a:cubicBezTo>
                  <a:cubicBezTo>
                    <a:pt x="116" y="32"/>
                    <a:pt x="124" y="7"/>
                    <a:pt x="137" y="0"/>
                  </a:cubicBezTo>
                  <a:cubicBezTo>
                    <a:pt x="149" y="5"/>
                    <a:pt x="161" y="28"/>
                    <a:pt x="162" y="51"/>
                  </a:cubicBezTo>
                  <a:cubicBezTo>
                    <a:pt x="163" y="66"/>
                    <a:pt x="152" y="87"/>
                    <a:pt x="152" y="108"/>
                  </a:cubicBezTo>
                  <a:cubicBezTo>
                    <a:pt x="160" y="93"/>
                    <a:pt x="173" y="85"/>
                    <a:pt x="184" y="89"/>
                  </a:cubicBezTo>
                  <a:cubicBezTo>
                    <a:pt x="200" y="96"/>
                    <a:pt x="205" y="117"/>
                    <a:pt x="197" y="132"/>
                  </a:cubicBezTo>
                  <a:cubicBezTo>
                    <a:pt x="192" y="141"/>
                    <a:pt x="185" y="145"/>
                    <a:pt x="177" y="146"/>
                  </a:cubicBezTo>
                  <a:cubicBezTo>
                    <a:pt x="179" y="143"/>
                    <a:pt x="181" y="140"/>
                    <a:pt x="182" y="136"/>
                  </a:cubicBezTo>
                  <a:cubicBezTo>
                    <a:pt x="184" y="126"/>
                    <a:pt x="182" y="117"/>
                    <a:pt x="173" y="115"/>
                  </a:cubicBezTo>
                  <a:cubicBezTo>
                    <a:pt x="165" y="113"/>
                    <a:pt x="159" y="120"/>
                    <a:pt x="157" y="130"/>
                  </a:cubicBezTo>
                  <a:cubicBezTo>
                    <a:pt x="157" y="134"/>
                    <a:pt x="157" y="137"/>
                    <a:pt x="157" y="140"/>
                  </a:cubicBezTo>
                  <a:cubicBezTo>
                    <a:pt x="157" y="140"/>
                    <a:pt x="157" y="140"/>
                    <a:pt x="157" y="140"/>
                  </a:cubicBezTo>
                  <a:cubicBezTo>
                    <a:pt x="163" y="155"/>
                    <a:pt x="175" y="160"/>
                    <a:pt x="189" y="163"/>
                  </a:cubicBezTo>
                  <a:cubicBezTo>
                    <a:pt x="203" y="163"/>
                    <a:pt x="218" y="162"/>
                    <a:pt x="233" y="162"/>
                  </a:cubicBezTo>
                  <a:cubicBezTo>
                    <a:pt x="233" y="162"/>
                    <a:pt x="233" y="162"/>
                    <a:pt x="233" y="162"/>
                  </a:cubicBezTo>
                  <a:cubicBezTo>
                    <a:pt x="234" y="161"/>
                    <a:pt x="234" y="161"/>
                    <a:pt x="234" y="161"/>
                  </a:cubicBezTo>
                  <a:cubicBezTo>
                    <a:pt x="255" y="158"/>
                    <a:pt x="265" y="145"/>
                    <a:pt x="268" y="120"/>
                  </a:cubicBezTo>
                  <a:cubicBezTo>
                    <a:pt x="249" y="123"/>
                    <a:pt x="235" y="134"/>
                    <a:pt x="229" y="150"/>
                  </a:cubicBezTo>
                  <a:cubicBezTo>
                    <a:pt x="228" y="151"/>
                    <a:pt x="227" y="152"/>
                    <a:pt x="225" y="152"/>
                  </a:cubicBezTo>
                  <a:cubicBezTo>
                    <a:pt x="222" y="152"/>
                    <a:pt x="221" y="150"/>
                    <a:pt x="221" y="149"/>
                  </a:cubicBezTo>
                  <a:cubicBezTo>
                    <a:pt x="221" y="71"/>
                    <a:pt x="221" y="71"/>
                    <a:pt x="221" y="71"/>
                  </a:cubicBezTo>
                  <a:cubicBezTo>
                    <a:pt x="221" y="71"/>
                    <a:pt x="221" y="71"/>
                    <a:pt x="221" y="71"/>
                  </a:cubicBezTo>
                  <a:cubicBezTo>
                    <a:pt x="221" y="70"/>
                    <a:pt x="223" y="69"/>
                    <a:pt x="225" y="69"/>
                  </a:cubicBezTo>
                  <a:cubicBezTo>
                    <a:pt x="227" y="69"/>
                    <a:pt x="228" y="70"/>
                    <a:pt x="228" y="71"/>
                  </a:cubicBezTo>
                  <a:cubicBezTo>
                    <a:pt x="228" y="71"/>
                    <a:pt x="228" y="71"/>
                    <a:pt x="228" y="71"/>
                  </a:cubicBezTo>
                  <a:cubicBezTo>
                    <a:pt x="228" y="71"/>
                    <a:pt x="228" y="71"/>
                    <a:pt x="228" y="71"/>
                  </a:cubicBezTo>
                  <a:cubicBezTo>
                    <a:pt x="232" y="86"/>
                    <a:pt x="239" y="99"/>
                    <a:pt x="268" y="101"/>
                  </a:cubicBezTo>
                  <a:cubicBezTo>
                    <a:pt x="265" y="74"/>
                    <a:pt x="253" y="65"/>
                    <a:pt x="234" y="61"/>
                  </a:cubicBezTo>
                  <a:cubicBezTo>
                    <a:pt x="234" y="61"/>
                    <a:pt x="233" y="61"/>
                    <a:pt x="232" y="60"/>
                  </a:cubicBezTo>
                  <a:cubicBezTo>
                    <a:pt x="232" y="60"/>
                    <a:pt x="231" y="59"/>
                    <a:pt x="231" y="58"/>
                  </a:cubicBezTo>
                  <a:cubicBezTo>
                    <a:pt x="231" y="58"/>
                    <a:pt x="231" y="58"/>
                    <a:pt x="231" y="58"/>
                  </a:cubicBezTo>
                  <a:cubicBezTo>
                    <a:pt x="231" y="57"/>
                    <a:pt x="232" y="56"/>
                    <a:pt x="232" y="56"/>
                  </a:cubicBezTo>
                  <a:cubicBezTo>
                    <a:pt x="233" y="55"/>
                    <a:pt x="234" y="55"/>
                    <a:pt x="235" y="55"/>
                  </a:cubicBezTo>
                  <a:cubicBezTo>
                    <a:pt x="319" y="55"/>
                    <a:pt x="319" y="55"/>
                    <a:pt x="319" y="55"/>
                  </a:cubicBezTo>
                  <a:cubicBezTo>
                    <a:pt x="319" y="55"/>
                    <a:pt x="321" y="55"/>
                    <a:pt x="322" y="56"/>
                  </a:cubicBezTo>
                  <a:cubicBezTo>
                    <a:pt x="322" y="56"/>
                    <a:pt x="323" y="57"/>
                    <a:pt x="323" y="58"/>
                  </a:cubicBezTo>
                  <a:cubicBezTo>
                    <a:pt x="323" y="58"/>
                    <a:pt x="323" y="58"/>
                    <a:pt x="323" y="58"/>
                  </a:cubicBezTo>
                  <a:cubicBezTo>
                    <a:pt x="323" y="59"/>
                    <a:pt x="322" y="60"/>
                    <a:pt x="322" y="60"/>
                  </a:cubicBezTo>
                  <a:cubicBezTo>
                    <a:pt x="321" y="61"/>
                    <a:pt x="320" y="61"/>
                    <a:pt x="320" y="61"/>
                  </a:cubicBezTo>
                  <a:cubicBezTo>
                    <a:pt x="302" y="67"/>
                    <a:pt x="290" y="82"/>
                    <a:pt x="287" y="101"/>
                  </a:cubicBezTo>
                  <a:cubicBezTo>
                    <a:pt x="314" y="99"/>
                    <a:pt x="322" y="85"/>
                    <a:pt x="325" y="71"/>
                  </a:cubicBezTo>
                  <a:cubicBezTo>
                    <a:pt x="326" y="70"/>
                    <a:pt x="327" y="68"/>
                    <a:pt x="329" y="68"/>
                  </a:cubicBezTo>
                  <a:cubicBezTo>
                    <a:pt x="331" y="68"/>
                    <a:pt x="333" y="70"/>
                    <a:pt x="333" y="71"/>
                  </a:cubicBezTo>
                  <a:cubicBezTo>
                    <a:pt x="333" y="72"/>
                    <a:pt x="333" y="72"/>
                    <a:pt x="333" y="72"/>
                  </a:cubicBezTo>
                  <a:cubicBezTo>
                    <a:pt x="333" y="149"/>
                    <a:pt x="333" y="149"/>
                    <a:pt x="333" y="149"/>
                  </a:cubicBezTo>
                  <a:cubicBezTo>
                    <a:pt x="333" y="149"/>
                    <a:pt x="333" y="149"/>
                    <a:pt x="333" y="149"/>
                  </a:cubicBezTo>
                  <a:cubicBezTo>
                    <a:pt x="333" y="150"/>
                    <a:pt x="332" y="152"/>
                    <a:pt x="329" y="152"/>
                  </a:cubicBezTo>
                  <a:cubicBezTo>
                    <a:pt x="326" y="152"/>
                    <a:pt x="325" y="151"/>
                    <a:pt x="325" y="150"/>
                  </a:cubicBezTo>
                  <a:cubicBezTo>
                    <a:pt x="318" y="134"/>
                    <a:pt x="304" y="123"/>
                    <a:pt x="287" y="120"/>
                  </a:cubicBezTo>
                  <a:cubicBezTo>
                    <a:pt x="290" y="141"/>
                    <a:pt x="302" y="157"/>
                    <a:pt x="320" y="161"/>
                  </a:cubicBezTo>
                  <a:cubicBezTo>
                    <a:pt x="321" y="162"/>
                    <a:pt x="321" y="162"/>
                    <a:pt x="321" y="162"/>
                  </a:cubicBezTo>
                  <a:cubicBezTo>
                    <a:pt x="321" y="162"/>
                    <a:pt x="321" y="162"/>
                    <a:pt x="321" y="162"/>
                  </a:cubicBezTo>
                  <a:cubicBezTo>
                    <a:pt x="336" y="162"/>
                    <a:pt x="350" y="162"/>
                    <a:pt x="365" y="163"/>
                  </a:cubicBezTo>
                  <a:cubicBezTo>
                    <a:pt x="380" y="161"/>
                    <a:pt x="391" y="155"/>
                    <a:pt x="397" y="138"/>
                  </a:cubicBezTo>
                  <a:cubicBezTo>
                    <a:pt x="397" y="138"/>
                    <a:pt x="397" y="138"/>
                    <a:pt x="397" y="138"/>
                  </a:cubicBezTo>
                  <a:cubicBezTo>
                    <a:pt x="397" y="135"/>
                    <a:pt x="397" y="133"/>
                    <a:pt x="396" y="131"/>
                  </a:cubicBezTo>
                  <a:cubicBezTo>
                    <a:pt x="394" y="121"/>
                    <a:pt x="388" y="114"/>
                    <a:pt x="380" y="115"/>
                  </a:cubicBezTo>
                  <a:cubicBezTo>
                    <a:pt x="372" y="117"/>
                    <a:pt x="370" y="126"/>
                    <a:pt x="372" y="136"/>
                  </a:cubicBezTo>
                  <a:cubicBezTo>
                    <a:pt x="373" y="140"/>
                    <a:pt x="375" y="144"/>
                    <a:pt x="377" y="147"/>
                  </a:cubicBezTo>
                  <a:cubicBezTo>
                    <a:pt x="369" y="145"/>
                    <a:pt x="362" y="141"/>
                    <a:pt x="357" y="132"/>
                  </a:cubicBezTo>
                  <a:cubicBezTo>
                    <a:pt x="349" y="117"/>
                    <a:pt x="353" y="96"/>
                    <a:pt x="369" y="89"/>
                  </a:cubicBezTo>
                  <a:cubicBezTo>
                    <a:pt x="380" y="85"/>
                    <a:pt x="393" y="93"/>
                    <a:pt x="401" y="108"/>
                  </a:cubicBezTo>
                  <a:cubicBezTo>
                    <a:pt x="401" y="87"/>
                    <a:pt x="391" y="67"/>
                    <a:pt x="391" y="51"/>
                  </a:cubicBezTo>
                  <a:cubicBezTo>
                    <a:pt x="392" y="29"/>
                    <a:pt x="404" y="5"/>
                    <a:pt x="417" y="0"/>
                  </a:cubicBezTo>
                  <a:cubicBezTo>
                    <a:pt x="429" y="6"/>
                    <a:pt x="438" y="31"/>
                    <a:pt x="436" y="53"/>
                  </a:cubicBezTo>
                  <a:cubicBezTo>
                    <a:pt x="435" y="69"/>
                    <a:pt x="421" y="88"/>
                    <a:pt x="418" y="109"/>
                  </a:cubicBezTo>
                  <a:cubicBezTo>
                    <a:pt x="428" y="95"/>
                    <a:pt x="443" y="88"/>
                    <a:pt x="453" y="94"/>
                  </a:cubicBezTo>
                  <a:cubicBezTo>
                    <a:pt x="468" y="103"/>
                    <a:pt x="469" y="124"/>
                    <a:pt x="460" y="138"/>
                  </a:cubicBezTo>
                  <a:cubicBezTo>
                    <a:pt x="454" y="146"/>
                    <a:pt x="447" y="149"/>
                    <a:pt x="438" y="150"/>
                  </a:cubicBezTo>
                  <a:cubicBezTo>
                    <a:pt x="441" y="147"/>
                    <a:pt x="443" y="144"/>
                    <a:pt x="444" y="140"/>
                  </a:cubicBezTo>
                  <a:cubicBezTo>
                    <a:pt x="448" y="130"/>
                    <a:pt x="447" y="121"/>
                    <a:pt x="439" y="118"/>
                  </a:cubicBezTo>
                  <a:cubicBezTo>
                    <a:pt x="431" y="116"/>
                    <a:pt x="424" y="122"/>
                    <a:pt x="421" y="132"/>
                  </a:cubicBezTo>
                  <a:cubicBezTo>
                    <a:pt x="420" y="135"/>
                    <a:pt x="419" y="138"/>
                    <a:pt x="419" y="141"/>
                  </a:cubicBezTo>
                  <a:cubicBezTo>
                    <a:pt x="419" y="141"/>
                    <a:pt x="419" y="141"/>
                    <a:pt x="419" y="141"/>
                  </a:cubicBezTo>
                  <a:cubicBezTo>
                    <a:pt x="424" y="156"/>
                    <a:pt x="434" y="162"/>
                    <a:pt x="447" y="168"/>
                  </a:cubicBezTo>
                  <a:cubicBezTo>
                    <a:pt x="462" y="169"/>
                    <a:pt x="477" y="170"/>
                    <a:pt x="492" y="172"/>
                  </a:cubicBezTo>
                  <a:cubicBezTo>
                    <a:pt x="510" y="166"/>
                    <a:pt x="524" y="151"/>
                    <a:pt x="529" y="132"/>
                  </a:cubicBezTo>
                  <a:cubicBezTo>
                    <a:pt x="510" y="133"/>
                    <a:pt x="493" y="143"/>
                    <a:pt x="485" y="161"/>
                  </a:cubicBezTo>
                  <a:cubicBezTo>
                    <a:pt x="484" y="162"/>
                    <a:pt x="483" y="163"/>
                    <a:pt x="481" y="163"/>
                  </a:cubicBezTo>
                  <a:cubicBezTo>
                    <a:pt x="479" y="163"/>
                    <a:pt x="478" y="161"/>
                    <a:pt x="478" y="160"/>
                  </a:cubicBezTo>
                  <a:cubicBezTo>
                    <a:pt x="478" y="160"/>
                    <a:pt x="478" y="160"/>
                    <a:pt x="478" y="160"/>
                  </a:cubicBezTo>
                  <a:cubicBezTo>
                    <a:pt x="489" y="76"/>
                    <a:pt x="489" y="76"/>
                    <a:pt x="489" y="76"/>
                  </a:cubicBezTo>
                  <a:cubicBezTo>
                    <a:pt x="489" y="75"/>
                    <a:pt x="489" y="75"/>
                    <a:pt x="489" y="75"/>
                  </a:cubicBezTo>
                  <a:cubicBezTo>
                    <a:pt x="489" y="74"/>
                    <a:pt x="490" y="73"/>
                    <a:pt x="492" y="74"/>
                  </a:cubicBezTo>
                  <a:cubicBezTo>
                    <a:pt x="495" y="74"/>
                    <a:pt x="495" y="75"/>
                    <a:pt x="495" y="76"/>
                  </a:cubicBezTo>
                  <a:cubicBezTo>
                    <a:pt x="497" y="96"/>
                    <a:pt x="504" y="110"/>
                    <a:pt x="531" y="115"/>
                  </a:cubicBezTo>
                  <a:cubicBezTo>
                    <a:pt x="531" y="95"/>
                    <a:pt x="521" y="79"/>
                    <a:pt x="503" y="70"/>
                  </a:cubicBezTo>
                  <a:cubicBezTo>
                    <a:pt x="503" y="71"/>
                    <a:pt x="503" y="71"/>
                    <a:pt x="503" y="71"/>
                  </a:cubicBezTo>
                  <a:cubicBezTo>
                    <a:pt x="502" y="70"/>
                    <a:pt x="501" y="69"/>
                    <a:pt x="501" y="67"/>
                  </a:cubicBezTo>
                  <a:cubicBezTo>
                    <a:pt x="502" y="65"/>
                    <a:pt x="503" y="64"/>
                    <a:pt x="504" y="64"/>
                  </a:cubicBezTo>
                  <a:cubicBezTo>
                    <a:pt x="508" y="65"/>
                    <a:pt x="541" y="69"/>
                    <a:pt x="543" y="69"/>
                  </a:cubicBezTo>
                  <a:cubicBezTo>
                    <a:pt x="546" y="70"/>
                    <a:pt x="549" y="71"/>
                    <a:pt x="551" y="74"/>
                  </a:cubicBezTo>
                  <a:cubicBezTo>
                    <a:pt x="553" y="76"/>
                    <a:pt x="553" y="80"/>
                    <a:pt x="552" y="8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4"/>
            <p:cNvSpPr>
              <a:spLocks noEditPoints="1"/>
            </p:cNvSpPr>
            <p:nvPr userDrawn="1"/>
          </p:nvSpPr>
          <p:spPr bwMode="auto">
            <a:xfrm>
              <a:off x="4594" y="327"/>
              <a:ext cx="24" cy="25"/>
            </a:xfrm>
            <a:custGeom>
              <a:avLst/>
              <a:gdLst>
                <a:gd name="T0" fmla="*/ 13 w 101"/>
                <a:gd name="T1" fmla="*/ 99 h 103"/>
                <a:gd name="T2" fmla="*/ 13 w 101"/>
                <a:gd name="T3" fmla="*/ 99 h 103"/>
                <a:gd name="T4" fmla="*/ 11 w 101"/>
                <a:gd name="T5" fmla="*/ 1 h 103"/>
                <a:gd name="T6" fmla="*/ 10 w 101"/>
                <a:gd name="T7" fmla="*/ 3 h 103"/>
                <a:gd name="T8" fmla="*/ 10 w 101"/>
                <a:gd name="T9" fmla="*/ 5 h 103"/>
                <a:gd name="T10" fmla="*/ 12 w 101"/>
                <a:gd name="T11" fmla="*/ 6 h 103"/>
                <a:gd name="T12" fmla="*/ 33 w 101"/>
                <a:gd name="T13" fmla="*/ 17 h 103"/>
                <a:gd name="T14" fmla="*/ 42 w 101"/>
                <a:gd name="T15" fmla="*/ 42 h 103"/>
                <a:gd name="T16" fmla="*/ 7 w 101"/>
                <a:gd name="T17" fmla="*/ 15 h 103"/>
                <a:gd name="T18" fmla="*/ 4 w 101"/>
                <a:gd name="T19" fmla="*/ 13 h 103"/>
                <a:gd name="T20" fmla="*/ 0 w 101"/>
                <a:gd name="T21" fmla="*/ 15 h 103"/>
                <a:gd name="T22" fmla="*/ 0 w 101"/>
                <a:gd name="T23" fmla="*/ 15 h 103"/>
                <a:gd name="T24" fmla="*/ 0 w 101"/>
                <a:gd name="T25" fmla="*/ 85 h 103"/>
                <a:gd name="T26" fmla="*/ 4 w 101"/>
                <a:gd name="T27" fmla="*/ 88 h 103"/>
                <a:gd name="T28" fmla="*/ 7 w 101"/>
                <a:gd name="T29" fmla="*/ 86 h 103"/>
                <a:gd name="T30" fmla="*/ 7 w 101"/>
                <a:gd name="T31" fmla="*/ 86 h 103"/>
                <a:gd name="T32" fmla="*/ 42 w 101"/>
                <a:gd name="T33" fmla="*/ 59 h 103"/>
                <a:gd name="T34" fmla="*/ 33 w 101"/>
                <a:gd name="T35" fmla="*/ 86 h 103"/>
                <a:gd name="T36" fmla="*/ 12 w 101"/>
                <a:gd name="T37" fmla="*/ 96 h 103"/>
                <a:gd name="T38" fmla="*/ 12 w 101"/>
                <a:gd name="T39" fmla="*/ 96 h 103"/>
                <a:gd name="T40" fmla="*/ 10 w 101"/>
                <a:gd name="T41" fmla="*/ 97 h 103"/>
                <a:gd name="T42" fmla="*/ 10 w 101"/>
                <a:gd name="T43" fmla="*/ 100 h 103"/>
                <a:gd name="T44" fmla="*/ 11 w 101"/>
                <a:gd name="T45" fmla="*/ 102 h 103"/>
                <a:gd name="T46" fmla="*/ 13 w 101"/>
                <a:gd name="T47" fmla="*/ 103 h 103"/>
                <a:gd name="T48" fmla="*/ 89 w 101"/>
                <a:gd name="T49" fmla="*/ 103 h 103"/>
                <a:gd name="T50" fmla="*/ 91 w 101"/>
                <a:gd name="T51" fmla="*/ 102 h 103"/>
                <a:gd name="T52" fmla="*/ 92 w 101"/>
                <a:gd name="T53" fmla="*/ 99 h 103"/>
                <a:gd name="T54" fmla="*/ 92 w 101"/>
                <a:gd name="T55" fmla="*/ 99 h 103"/>
                <a:gd name="T56" fmla="*/ 92 w 101"/>
                <a:gd name="T57" fmla="*/ 99 h 103"/>
                <a:gd name="T58" fmla="*/ 91 w 101"/>
                <a:gd name="T59" fmla="*/ 97 h 103"/>
                <a:gd name="T60" fmla="*/ 89 w 101"/>
                <a:gd name="T61" fmla="*/ 96 h 103"/>
                <a:gd name="T62" fmla="*/ 65 w 101"/>
                <a:gd name="T63" fmla="*/ 77 h 103"/>
                <a:gd name="T64" fmla="*/ 60 w 101"/>
                <a:gd name="T65" fmla="*/ 60 h 103"/>
                <a:gd name="T66" fmla="*/ 94 w 101"/>
                <a:gd name="T67" fmla="*/ 86 h 103"/>
                <a:gd name="T68" fmla="*/ 94 w 101"/>
                <a:gd name="T69" fmla="*/ 86 h 103"/>
                <a:gd name="T70" fmla="*/ 98 w 101"/>
                <a:gd name="T71" fmla="*/ 89 h 103"/>
                <a:gd name="T72" fmla="*/ 101 w 101"/>
                <a:gd name="T73" fmla="*/ 86 h 103"/>
                <a:gd name="T74" fmla="*/ 101 w 101"/>
                <a:gd name="T75" fmla="*/ 85 h 103"/>
                <a:gd name="T76" fmla="*/ 101 w 101"/>
                <a:gd name="T77" fmla="*/ 15 h 103"/>
                <a:gd name="T78" fmla="*/ 101 w 101"/>
                <a:gd name="T79" fmla="*/ 15 h 103"/>
                <a:gd name="T80" fmla="*/ 98 w 101"/>
                <a:gd name="T81" fmla="*/ 12 h 103"/>
                <a:gd name="T82" fmla="*/ 94 w 101"/>
                <a:gd name="T83" fmla="*/ 15 h 103"/>
                <a:gd name="T84" fmla="*/ 60 w 101"/>
                <a:gd name="T85" fmla="*/ 42 h 103"/>
                <a:gd name="T86" fmla="*/ 65 w 101"/>
                <a:gd name="T87" fmla="*/ 26 h 103"/>
                <a:gd name="T88" fmla="*/ 89 w 101"/>
                <a:gd name="T89" fmla="*/ 6 h 103"/>
                <a:gd name="T90" fmla="*/ 91 w 101"/>
                <a:gd name="T91" fmla="*/ 5 h 103"/>
                <a:gd name="T92" fmla="*/ 92 w 101"/>
                <a:gd name="T93" fmla="*/ 3 h 103"/>
                <a:gd name="T94" fmla="*/ 92 w 101"/>
                <a:gd name="T95" fmla="*/ 3 h 103"/>
                <a:gd name="T96" fmla="*/ 91 w 101"/>
                <a:gd name="T97" fmla="*/ 1 h 103"/>
                <a:gd name="T98" fmla="*/ 89 w 101"/>
                <a:gd name="T99" fmla="*/ 0 h 103"/>
                <a:gd name="T100" fmla="*/ 13 w 101"/>
                <a:gd name="T101" fmla="*/ 0 h 103"/>
                <a:gd name="T102" fmla="*/ 11 w 101"/>
                <a:gd name="T103"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1" h="103">
                  <a:moveTo>
                    <a:pt x="13" y="99"/>
                  </a:moveTo>
                  <a:cubicBezTo>
                    <a:pt x="13" y="99"/>
                    <a:pt x="13" y="99"/>
                    <a:pt x="13" y="99"/>
                  </a:cubicBezTo>
                  <a:close/>
                  <a:moveTo>
                    <a:pt x="11" y="1"/>
                  </a:moveTo>
                  <a:cubicBezTo>
                    <a:pt x="10" y="1"/>
                    <a:pt x="10" y="2"/>
                    <a:pt x="10" y="3"/>
                  </a:cubicBezTo>
                  <a:cubicBezTo>
                    <a:pt x="9" y="4"/>
                    <a:pt x="10" y="5"/>
                    <a:pt x="10" y="5"/>
                  </a:cubicBezTo>
                  <a:cubicBezTo>
                    <a:pt x="11" y="6"/>
                    <a:pt x="12" y="6"/>
                    <a:pt x="12" y="6"/>
                  </a:cubicBezTo>
                  <a:cubicBezTo>
                    <a:pt x="22" y="8"/>
                    <a:pt x="28" y="12"/>
                    <a:pt x="33" y="17"/>
                  </a:cubicBezTo>
                  <a:cubicBezTo>
                    <a:pt x="38" y="23"/>
                    <a:pt x="41" y="31"/>
                    <a:pt x="42" y="42"/>
                  </a:cubicBezTo>
                  <a:cubicBezTo>
                    <a:pt x="17" y="40"/>
                    <a:pt x="10" y="28"/>
                    <a:pt x="7" y="15"/>
                  </a:cubicBezTo>
                  <a:cubicBezTo>
                    <a:pt x="7" y="14"/>
                    <a:pt x="6" y="13"/>
                    <a:pt x="4" y="13"/>
                  </a:cubicBezTo>
                  <a:cubicBezTo>
                    <a:pt x="2" y="13"/>
                    <a:pt x="1" y="14"/>
                    <a:pt x="0" y="15"/>
                  </a:cubicBezTo>
                  <a:cubicBezTo>
                    <a:pt x="0" y="15"/>
                    <a:pt x="0" y="15"/>
                    <a:pt x="0" y="15"/>
                  </a:cubicBezTo>
                  <a:cubicBezTo>
                    <a:pt x="0" y="85"/>
                    <a:pt x="0" y="85"/>
                    <a:pt x="0" y="85"/>
                  </a:cubicBezTo>
                  <a:cubicBezTo>
                    <a:pt x="0" y="87"/>
                    <a:pt x="1" y="88"/>
                    <a:pt x="4" y="88"/>
                  </a:cubicBezTo>
                  <a:cubicBezTo>
                    <a:pt x="6" y="88"/>
                    <a:pt x="7" y="87"/>
                    <a:pt x="7" y="86"/>
                  </a:cubicBezTo>
                  <a:cubicBezTo>
                    <a:pt x="7" y="86"/>
                    <a:pt x="7" y="86"/>
                    <a:pt x="7" y="86"/>
                  </a:cubicBezTo>
                  <a:cubicBezTo>
                    <a:pt x="13" y="71"/>
                    <a:pt x="26" y="62"/>
                    <a:pt x="42" y="59"/>
                  </a:cubicBezTo>
                  <a:cubicBezTo>
                    <a:pt x="41" y="71"/>
                    <a:pt x="38" y="80"/>
                    <a:pt x="33" y="86"/>
                  </a:cubicBezTo>
                  <a:cubicBezTo>
                    <a:pt x="28" y="91"/>
                    <a:pt x="22" y="94"/>
                    <a:pt x="12" y="96"/>
                  </a:cubicBezTo>
                  <a:cubicBezTo>
                    <a:pt x="12" y="96"/>
                    <a:pt x="12" y="96"/>
                    <a:pt x="12" y="96"/>
                  </a:cubicBezTo>
                  <a:cubicBezTo>
                    <a:pt x="12" y="96"/>
                    <a:pt x="11" y="97"/>
                    <a:pt x="10" y="97"/>
                  </a:cubicBezTo>
                  <a:cubicBezTo>
                    <a:pt x="10" y="98"/>
                    <a:pt x="9" y="98"/>
                    <a:pt x="10" y="100"/>
                  </a:cubicBezTo>
                  <a:cubicBezTo>
                    <a:pt x="10" y="101"/>
                    <a:pt x="10" y="101"/>
                    <a:pt x="11" y="102"/>
                  </a:cubicBezTo>
                  <a:cubicBezTo>
                    <a:pt x="11" y="102"/>
                    <a:pt x="12" y="103"/>
                    <a:pt x="13" y="103"/>
                  </a:cubicBezTo>
                  <a:cubicBezTo>
                    <a:pt x="89" y="103"/>
                    <a:pt x="89" y="103"/>
                    <a:pt x="89" y="103"/>
                  </a:cubicBezTo>
                  <a:cubicBezTo>
                    <a:pt x="90" y="103"/>
                    <a:pt x="90" y="103"/>
                    <a:pt x="91" y="102"/>
                  </a:cubicBezTo>
                  <a:cubicBezTo>
                    <a:pt x="92" y="101"/>
                    <a:pt x="92" y="100"/>
                    <a:pt x="92" y="99"/>
                  </a:cubicBezTo>
                  <a:cubicBezTo>
                    <a:pt x="92" y="99"/>
                    <a:pt x="92" y="99"/>
                    <a:pt x="92" y="99"/>
                  </a:cubicBezTo>
                  <a:cubicBezTo>
                    <a:pt x="92" y="99"/>
                    <a:pt x="92" y="99"/>
                    <a:pt x="92" y="99"/>
                  </a:cubicBezTo>
                  <a:cubicBezTo>
                    <a:pt x="92" y="98"/>
                    <a:pt x="92" y="98"/>
                    <a:pt x="91" y="97"/>
                  </a:cubicBezTo>
                  <a:cubicBezTo>
                    <a:pt x="91" y="97"/>
                    <a:pt x="90" y="96"/>
                    <a:pt x="89" y="96"/>
                  </a:cubicBezTo>
                  <a:cubicBezTo>
                    <a:pt x="79" y="93"/>
                    <a:pt x="71" y="86"/>
                    <a:pt x="65" y="77"/>
                  </a:cubicBezTo>
                  <a:cubicBezTo>
                    <a:pt x="63" y="71"/>
                    <a:pt x="61" y="66"/>
                    <a:pt x="60" y="60"/>
                  </a:cubicBezTo>
                  <a:cubicBezTo>
                    <a:pt x="76" y="62"/>
                    <a:pt x="88" y="72"/>
                    <a:pt x="94" y="86"/>
                  </a:cubicBezTo>
                  <a:cubicBezTo>
                    <a:pt x="94" y="86"/>
                    <a:pt x="94" y="86"/>
                    <a:pt x="94" y="86"/>
                  </a:cubicBezTo>
                  <a:cubicBezTo>
                    <a:pt x="95" y="87"/>
                    <a:pt x="95" y="89"/>
                    <a:pt x="98" y="89"/>
                  </a:cubicBezTo>
                  <a:cubicBezTo>
                    <a:pt x="100" y="89"/>
                    <a:pt x="101" y="87"/>
                    <a:pt x="101" y="86"/>
                  </a:cubicBezTo>
                  <a:cubicBezTo>
                    <a:pt x="101" y="85"/>
                    <a:pt x="101" y="85"/>
                    <a:pt x="101" y="85"/>
                  </a:cubicBezTo>
                  <a:cubicBezTo>
                    <a:pt x="101" y="15"/>
                    <a:pt x="101" y="15"/>
                    <a:pt x="101" y="15"/>
                  </a:cubicBezTo>
                  <a:cubicBezTo>
                    <a:pt x="101" y="15"/>
                    <a:pt x="101" y="15"/>
                    <a:pt x="101" y="15"/>
                  </a:cubicBezTo>
                  <a:cubicBezTo>
                    <a:pt x="101" y="14"/>
                    <a:pt x="100" y="12"/>
                    <a:pt x="98" y="12"/>
                  </a:cubicBezTo>
                  <a:cubicBezTo>
                    <a:pt x="96" y="12"/>
                    <a:pt x="95" y="14"/>
                    <a:pt x="94" y="15"/>
                  </a:cubicBezTo>
                  <a:cubicBezTo>
                    <a:pt x="91" y="28"/>
                    <a:pt x="85" y="40"/>
                    <a:pt x="60" y="42"/>
                  </a:cubicBezTo>
                  <a:cubicBezTo>
                    <a:pt x="61" y="36"/>
                    <a:pt x="63" y="31"/>
                    <a:pt x="65" y="26"/>
                  </a:cubicBezTo>
                  <a:cubicBezTo>
                    <a:pt x="71" y="17"/>
                    <a:pt x="79" y="10"/>
                    <a:pt x="89" y="6"/>
                  </a:cubicBezTo>
                  <a:cubicBezTo>
                    <a:pt x="90" y="6"/>
                    <a:pt x="91" y="6"/>
                    <a:pt x="91" y="5"/>
                  </a:cubicBezTo>
                  <a:cubicBezTo>
                    <a:pt x="92" y="5"/>
                    <a:pt x="92" y="4"/>
                    <a:pt x="92" y="3"/>
                  </a:cubicBezTo>
                  <a:cubicBezTo>
                    <a:pt x="92" y="3"/>
                    <a:pt x="92" y="3"/>
                    <a:pt x="92" y="3"/>
                  </a:cubicBezTo>
                  <a:cubicBezTo>
                    <a:pt x="92" y="2"/>
                    <a:pt x="92" y="1"/>
                    <a:pt x="91" y="1"/>
                  </a:cubicBezTo>
                  <a:cubicBezTo>
                    <a:pt x="90" y="0"/>
                    <a:pt x="89" y="0"/>
                    <a:pt x="89" y="0"/>
                  </a:cubicBezTo>
                  <a:cubicBezTo>
                    <a:pt x="13" y="0"/>
                    <a:pt x="13" y="0"/>
                    <a:pt x="13" y="0"/>
                  </a:cubicBezTo>
                  <a:cubicBezTo>
                    <a:pt x="12" y="0"/>
                    <a:pt x="11" y="0"/>
                    <a:pt x="1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Oval 45"/>
            <p:cNvSpPr>
              <a:spLocks noChangeArrowheads="1"/>
            </p:cNvSpPr>
            <p:nvPr userDrawn="1"/>
          </p:nvSpPr>
          <p:spPr bwMode="auto">
            <a:xfrm>
              <a:off x="4602" y="379"/>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Oval 46"/>
            <p:cNvSpPr>
              <a:spLocks noChangeArrowheads="1"/>
            </p:cNvSpPr>
            <p:nvPr userDrawn="1"/>
          </p:nvSpPr>
          <p:spPr bwMode="auto">
            <a:xfrm>
              <a:off x="4603" y="371"/>
              <a:ext cx="6"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Oval 47"/>
            <p:cNvSpPr>
              <a:spLocks noChangeArrowheads="1"/>
            </p:cNvSpPr>
            <p:nvPr userDrawn="1"/>
          </p:nvSpPr>
          <p:spPr bwMode="auto">
            <a:xfrm>
              <a:off x="4602" y="388"/>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Oval 48"/>
            <p:cNvSpPr>
              <a:spLocks noChangeArrowheads="1"/>
            </p:cNvSpPr>
            <p:nvPr userDrawn="1"/>
          </p:nvSpPr>
          <p:spPr bwMode="auto">
            <a:xfrm>
              <a:off x="4602" y="397"/>
              <a:ext cx="8" cy="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Oval 49"/>
            <p:cNvSpPr>
              <a:spLocks noChangeArrowheads="1"/>
            </p:cNvSpPr>
            <p:nvPr userDrawn="1"/>
          </p:nvSpPr>
          <p:spPr bwMode="auto">
            <a:xfrm>
              <a:off x="4602" y="406"/>
              <a:ext cx="8" cy="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50"/>
            <p:cNvSpPr>
              <a:spLocks/>
            </p:cNvSpPr>
            <p:nvPr userDrawn="1"/>
          </p:nvSpPr>
          <p:spPr bwMode="auto">
            <a:xfrm>
              <a:off x="4536" y="365"/>
              <a:ext cx="65" cy="52"/>
            </a:xfrm>
            <a:custGeom>
              <a:avLst/>
              <a:gdLst>
                <a:gd name="T0" fmla="*/ 250 w 268"/>
                <a:gd name="T1" fmla="*/ 50 h 216"/>
                <a:gd name="T2" fmla="*/ 256 w 268"/>
                <a:gd name="T3" fmla="*/ 37 h 216"/>
                <a:gd name="T4" fmla="*/ 222 w 268"/>
                <a:gd name="T5" fmla="*/ 37 h 216"/>
                <a:gd name="T6" fmla="*/ 223 w 268"/>
                <a:gd name="T7" fmla="*/ 42 h 216"/>
                <a:gd name="T8" fmla="*/ 217 w 268"/>
                <a:gd name="T9" fmla="*/ 27 h 216"/>
                <a:gd name="T10" fmla="*/ 183 w 268"/>
                <a:gd name="T11" fmla="*/ 27 h 216"/>
                <a:gd name="T12" fmla="*/ 184 w 268"/>
                <a:gd name="T13" fmla="*/ 32 h 216"/>
                <a:gd name="T14" fmla="*/ 177 w 268"/>
                <a:gd name="T15" fmla="*/ 17 h 216"/>
                <a:gd name="T16" fmla="*/ 144 w 268"/>
                <a:gd name="T17" fmla="*/ 17 h 216"/>
                <a:gd name="T18" fmla="*/ 146 w 268"/>
                <a:gd name="T19" fmla="*/ 26 h 216"/>
                <a:gd name="T20" fmla="*/ 137 w 268"/>
                <a:gd name="T21" fmla="*/ 19 h 216"/>
                <a:gd name="T22" fmla="*/ 103 w 268"/>
                <a:gd name="T23" fmla="*/ 19 h 216"/>
                <a:gd name="T24" fmla="*/ 108 w 268"/>
                <a:gd name="T25" fmla="*/ 32 h 216"/>
                <a:gd name="T26" fmla="*/ 97 w 268"/>
                <a:gd name="T27" fmla="*/ 36 h 216"/>
                <a:gd name="T28" fmla="*/ 81 w 268"/>
                <a:gd name="T29" fmla="*/ 16 h 216"/>
                <a:gd name="T30" fmla="*/ 74 w 268"/>
                <a:gd name="T31" fmla="*/ 49 h 216"/>
                <a:gd name="T32" fmla="*/ 64 w 268"/>
                <a:gd name="T33" fmla="*/ 56 h 216"/>
                <a:gd name="T34" fmla="*/ 31 w 268"/>
                <a:gd name="T35" fmla="*/ 59 h 216"/>
                <a:gd name="T36" fmla="*/ 40 w 268"/>
                <a:gd name="T37" fmla="*/ 86 h 216"/>
                <a:gd name="T38" fmla="*/ 9 w 268"/>
                <a:gd name="T39" fmla="*/ 95 h 216"/>
                <a:gd name="T40" fmla="*/ 29 w 268"/>
                <a:gd name="T41" fmla="*/ 111 h 216"/>
                <a:gd name="T42" fmla="*/ 27 w 268"/>
                <a:gd name="T43" fmla="*/ 122 h 216"/>
                <a:gd name="T44" fmla="*/ 0 w 268"/>
                <a:gd name="T45" fmla="*/ 136 h 216"/>
                <a:gd name="T46" fmla="*/ 26 w 268"/>
                <a:gd name="T47" fmla="*/ 150 h 216"/>
                <a:gd name="T48" fmla="*/ 27 w 268"/>
                <a:gd name="T49" fmla="*/ 157 h 216"/>
                <a:gd name="T50" fmla="*/ 27 w 268"/>
                <a:gd name="T51" fmla="*/ 162 h 216"/>
                <a:gd name="T52" fmla="*/ 3 w 268"/>
                <a:gd name="T53" fmla="*/ 177 h 216"/>
                <a:gd name="T54" fmla="*/ 31 w 268"/>
                <a:gd name="T55" fmla="*/ 189 h 216"/>
                <a:gd name="T56" fmla="*/ 55 w 268"/>
                <a:gd name="T57" fmla="*/ 214 h 216"/>
                <a:gd name="T58" fmla="*/ 47 w 268"/>
                <a:gd name="T59" fmla="*/ 157 h 216"/>
                <a:gd name="T60" fmla="*/ 146 w 268"/>
                <a:gd name="T61" fmla="*/ 49 h 216"/>
                <a:gd name="T62" fmla="*/ 239 w 268"/>
                <a:gd name="T63" fmla="*/ 70 h 216"/>
                <a:gd name="T64" fmla="*/ 246 w 268"/>
                <a:gd name="T65" fmla="*/ 202 h 216"/>
                <a:gd name="T66" fmla="*/ 267 w 268"/>
                <a:gd name="T67" fmla="*/ 6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8" h="216">
                  <a:moveTo>
                    <a:pt x="254" y="51"/>
                  </a:moveTo>
                  <a:cubicBezTo>
                    <a:pt x="250" y="50"/>
                    <a:pt x="250" y="50"/>
                    <a:pt x="250" y="50"/>
                  </a:cubicBezTo>
                  <a:cubicBezTo>
                    <a:pt x="250" y="50"/>
                    <a:pt x="250" y="50"/>
                    <a:pt x="250" y="50"/>
                  </a:cubicBezTo>
                  <a:cubicBezTo>
                    <a:pt x="254" y="47"/>
                    <a:pt x="256" y="42"/>
                    <a:pt x="256" y="37"/>
                  </a:cubicBezTo>
                  <a:cubicBezTo>
                    <a:pt x="256" y="28"/>
                    <a:pt x="249" y="20"/>
                    <a:pt x="239" y="20"/>
                  </a:cubicBezTo>
                  <a:cubicBezTo>
                    <a:pt x="230" y="20"/>
                    <a:pt x="222" y="28"/>
                    <a:pt x="222" y="37"/>
                  </a:cubicBezTo>
                  <a:cubicBezTo>
                    <a:pt x="222" y="39"/>
                    <a:pt x="223" y="41"/>
                    <a:pt x="223" y="42"/>
                  </a:cubicBezTo>
                  <a:cubicBezTo>
                    <a:pt x="223" y="42"/>
                    <a:pt x="223" y="42"/>
                    <a:pt x="223" y="42"/>
                  </a:cubicBezTo>
                  <a:cubicBezTo>
                    <a:pt x="211" y="39"/>
                    <a:pt x="211" y="39"/>
                    <a:pt x="211" y="39"/>
                  </a:cubicBezTo>
                  <a:cubicBezTo>
                    <a:pt x="215" y="36"/>
                    <a:pt x="217" y="32"/>
                    <a:pt x="217" y="27"/>
                  </a:cubicBezTo>
                  <a:cubicBezTo>
                    <a:pt x="217" y="18"/>
                    <a:pt x="209" y="10"/>
                    <a:pt x="200" y="10"/>
                  </a:cubicBezTo>
                  <a:cubicBezTo>
                    <a:pt x="191" y="10"/>
                    <a:pt x="183" y="18"/>
                    <a:pt x="183" y="27"/>
                  </a:cubicBezTo>
                  <a:cubicBezTo>
                    <a:pt x="183" y="29"/>
                    <a:pt x="183" y="30"/>
                    <a:pt x="184" y="32"/>
                  </a:cubicBezTo>
                  <a:cubicBezTo>
                    <a:pt x="184" y="32"/>
                    <a:pt x="184" y="32"/>
                    <a:pt x="184" y="32"/>
                  </a:cubicBezTo>
                  <a:cubicBezTo>
                    <a:pt x="180" y="31"/>
                    <a:pt x="176" y="30"/>
                    <a:pt x="173" y="29"/>
                  </a:cubicBezTo>
                  <a:cubicBezTo>
                    <a:pt x="176" y="26"/>
                    <a:pt x="177" y="22"/>
                    <a:pt x="177" y="17"/>
                  </a:cubicBezTo>
                  <a:cubicBezTo>
                    <a:pt x="177" y="8"/>
                    <a:pt x="170" y="0"/>
                    <a:pt x="161" y="0"/>
                  </a:cubicBezTo>
                  <a:cubicBezTo>
                    <a:pt x="151" y="0"/>
                    <a:pt x="144" y="8"/>
                    <a:pt x="144" y="17"/>
                  </a:cubicBezTo>
                  <a:cubicBezTo>
                    <a:pt x="144" y="20"/>
                    <a:pt x="145" y="23"/>
                    <a:pt x="146" y="26"/>
                  </a:cubicBezTo>
                  <a:cubicBezTo>
                    <a:pt x="146" y="26"/>
                    <a:pt x="146" y="26"/>
                    <a:pt x="146" y="26"/>
                  </a:cubicBezTo>
                  <a:cubicBezTo>
                    <a:pt x="142" y="26"/>
                    <a:pt x="138" y="26"/>
                    <a:pt x="135" y="26"/>
                  </a:cubicBezTo>
                  <a:cubicBezTo>
                    <a:pt x="136" y="24"/>
                    <a:pt x="137" y="22"/>
                    <a:pt x="137" y="19"/>
                  </a:cubicBezTo>
                  <a:cubicBezTo>
                    <a:pt x="137" y="10"/>
                    <a:pt x="129" y="2"/>
                    <a:pt x="120" y="2"/>
                  </a:cubicBezTo>
                  <a:cubicBezTo>
                    <a:pt x="110" y="2"/>
                    <a:pt x="103" y="10"/>
                    <a:pt x="103" y="19"/>
                  </a:cubicBezTo>
                  <a:cubicBezTo>
                    <a:pt x="103" y="24"/>
                    <a:pt x="105" y="28"/>
                    <a:pt x="108" y="32"/>
                  </a:cubicBezTo>
                  <a:cubicBezTo>
                    <a:pt x="108" y="32"/>
                    <a:pt x="108" y="32"/>
                    <a:pt x="108" y="32"/>
                  </a:cubicBezTo>
                  <a:cubicBezTo>
                    <a:pt x="105" y="33"/>
                    <a:pt x="101" y="34"/>
                    <a:pt x="97" y="36"/>
                  </a:cubicBezTo>
                  <a:cubicBezTo>
                    <a:pt x="97" y="36"/>
                    <a:pt x="97" y="36"/>
                    <a:pt x="97" y="36"/>
                  </a:cubicBezTo>
                  <a:cubicBezTo>
                    <a:pt x="97" y="35"/>
                    <a:pt x="97" y="34"/>
                    <a:pt x="97" y="33"/>
                  </a:cubicBezTo>
                  <a:cubicBezTo>
                    <a:pt x="97" y="24"/>
                    <a:pt x="90" y="16"/>
                    <a:pt x="81" y="16"/>
                  </a:cubicBezTo>
                  <a:cubicBezTo>
                    <a:pt x="71" y="16"/>
                    <a:pt x="64" y="24"/>
                    <a:pt x="64" y="33"/>
                  </a:cubicBezTo>
                  <a:cubicBezTo>
                    <a:pt x="64" y="40"/>
                    <a:pt x="68" y="46"/>
                    <a:pt x="74" y="49"/>
                  </a:cubicBezTo>
                  <a:cubicBezTo>
                    <a:pt x="70" y="51"/>
                    <a:pt x="67" y="53"/>
                    <a:pt x="64" y="56"/>
                  </a:cubicBezTo>
                  <a:cubicBezTo>
                    <a:pt x="64" y="56"/>
                    <a:pt x="64" y="56"/>
                    <a:pt x="64" y="56"/>
                  </a:cubicBezTo>
                  <a:cubicBezTo>
                    <a:pt x="63" y="48"/>
                    <a:pt x="56" y="42"/>
                    <a:pt x="48" y="42"/>
                  </a:cubicBezTo>
                  <a:cubicBezTo>
                    <a:pt x="39" y="42"/>
                    <a:pt x="31" y="50"/>
                    <a:pt x="31" y="59"/>
                  </a:cubicBezTo>
                  <a:cubicBezTo>
                    <a:pt x="31" y="68"/>
                    <a:pt x="38" y="75"/>
                    <a:pt x="46" y="76"/>
                  </a:cubicBezTo>
                  <a:cubicBezTo>
                    <a:pt x="44" y="79"/>
                    <a:pt x="42" y="82"/>
                    <a:pt x="40" y="86"/>
                  </a:cubicBezTo>
                  <a:cubicBezTo>
                    <a:pt x="37" y="81"/>
                    <a:pt x="31" y="78"/>
                    <a:pt x="25" y="78"/>
                  </a:cubicBezTo>
                  <a:cubicBezTo>
                    <a:pt x="16" y="78"/>
                    <a:pt x="9" y="85"/>
                    <a:pt x="9" y="95"/>
                  </a:cubicBezTo>
                  <a:cubicBezTo>
                    <a:pt x="9" y="104"/>
                    <a:pt x="16" y="111"/>
                    <a:pt x="25" y="111"/>
                  </a:cubicBezTo>
                  <a:cubicBezTo>
                    <a:pt x="27" y="111"/>
                    <a:pt x="28" y="111"/>
                    <a:pt x="29" y="111"/>
                  </a:cubicBezTo>
                  <a:cubicBezTo>
                    <a:pt x="29" y="111"/>
                    <a:pt x="29" y="111"/>
                    <a:pt x="29" y="111"/>
                  </a:cubicBezTo>
                  <a:cubicBezTo>
                    <a:pt x="28" y="115"/>
                    <a:pt x="27" y="118"/>
                    <a:pt x="27" y="122"/>
                  </a:cubicBezTo>
                  <a:cubicBezTo>
                    <a:pt x="24" y="120"/>
                    <a:pt x="21" y="119"/>
                    <a:pt x="17" y="119"/>
                  </a:cubicBezTo>
                  <a:cubicBezTo>
                    <a:pt x="8" y="119"/>
                    <a:pt x="0" y="126"/>
                    <a:pt x="0" y="136"/>
                  </a:cubicBezTo>
                  <a:cubicBezTo>
                    <a:pt x="0" y="145"/>
                    <a:pt x="8" y="152"/>
                    <a:pt x="17" y="152"/>
                  </a:cubicBezTo>
                  <a:cubicBezTo>
                    <a:pt x="20" y="152"/>
                    <a:pt x="23" y="152"/>
                    <a:pt x="26" y="150"/>
                  </a:cubicBezTo>
                  <a:cubicBezTo>
                    <a:pt x="26" y="150"/>
                    <a:pt x="26" y="150"/>
                    <a:pt x="26" y="150"/>
                  </a:cubicBezTo>
                  <a:cubicBezTo>
                    <a:pt x="26" y="152"/>
                    <a:pt x="26" y="155"/>
                    <a:pt x="27" y="157"/>
                  </a:cubicBezTo>
                  <a:cubicBezTo>
                    <a:pt x="27" y="157"/>
                    <a:pt x="27" y="159"/>
                    <a:pt x="27" y="162"/>
                  </a:cubicBezTo>
                  <a:cubicBezTo>
                    <a:pt x="27" y="162"/>
                    <a:pt x="27" y="162"/>
                    <a:pt x="27" y="162"/>
                  </a:cubicBezTo>
                  <a:cubicBezTo>
                    <a:pt x="25" y="161"/>
                    <a:pt x="23" y="160"/>
                    <a:pt x="20" y="160"/>
                  </a:cubicBezTo>
                  <a:cubicBezTo>
                    <a:pt x="11" y="160"/>
                    <a:pt x="3" y="167"/>
                    <a:pt x="3" y="177"/>
                  </a:cubicBezTo>
                  <a:cubicBezTo>
                    <a:pt x="3" y="186"/>
                    <a:pt x="11" y="194"/>
                    <a:pt x="20" y="194"/>
                  </a:cubicBezTo>
                  <a:cubicBezTo>
                    <a:pt x="25" y="194"/>
                    <a:pt x="29" y="192"/>
                    <a:pt x="31" y="189"/>
                  </a:cubicBezTo>
                  <a:cubicBezTo>
                    <a:pt x="35" y="216"/>
                    <a:pt x="35" y="216"/>
                    <a:pt x="35" y="216"/>
                  </a:cubicBezTo>
                  <a:cubicBezTo>
                    <a:pt x="55" y="214"/>
                    <a:pt x="55" y="214"/>
                    <a:pt x="55" y="214"/>
                  </a:cubicBezTo>
                  <a:cubicBezTo>
                    <a:pt x="51" y="182"/>
                    <a:pt x="47" y="157"/>
                    <a:pt x="47" y="157"/>
                  </a:cubicBezTo>
                  <a:cubicBezTo>
                    <a:pt x="47" y="157"/>
                    <a:pt x="47" y="157"/>
                    <a:pt x="47" y="157"/>
                  </a:cubicBezTo>
                  <a:cubicBezTo>
                    <a:pt x="46" y="152"/>
                    <a:pt x="46" y="147"/>
                    <a:pt x="46" y="142"/>
                  </a:cubicBezTo>
                  <a:cubicBezTo>
                    <a:pt x="46" y="91"/>
                    <a:pt x="91" y="49"/>
                    <a:pt x="146" y="49"/>
                  </a:cubicBezTo>
                  <a:cubicBezTo>
                    <a:pt x="157" y="49"/>
                    <a:pt x="169" y="51"/>
                    <a:pt x="179" y="54"/>
                  </a:cubicBezTo>
                  <a:cubicBezTo>
                    <a:pt x="179" y="54"/>
                    <a:pt x="211" y="63"/>
                    <a:pt x="239" y="70"/>
                  </a:cubicBezTo>
                  <a:cubicBezTo>
                    <a:pt x="245" y="71"/>
                    <a:pt x="245" y="80"/>
                    <a:pt x="245" y="80"/>
                  </a:cubicBezTo>
                  <a:cubicBezTo>
                    <a:pt x="246" y="202"/>
                    <a:pt x="246" y="202"/>
                    <a:pt x="246" y="202"/>
                  </a:cubicBezTo>
                  <a:cubicBezTo>
                    <a:pt x="267" y="202"/>
                    <a:pt x="267" y="202"/>
                    <a:pt x="267" y="202"/>
                  </a:cubicBezTo>
                  <a:cubicBezTo>
                    <a:pt x="267" y="69"/>
                    <a:pt x="267" y="69"/>
                    <a:pt x="267" y="69"/>
                  </a:cubicBezTo>
                  <a:cubicBezTo>
                    <a:pt x="267" y="69"/>
                    <a:pt x="268" y="54"/>
                    <a:pt x="254"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51"/>
            <p:cNvSpPr>
              <a:spLocks/>
            </p:cNvSpPr>
            <p:nvPr userDrawn="1"/>
          </p:nvSpPr>
          <p:spPr bwMode="auto">
            <a:xfrm>
              <a:off x="4611" y="365"/>
              <a:ext cx="65" cy="52"/>
            </a:xfrm>
            <a:custGeom>
              <a:avLst/>
              <a:gdLst>
                <a:gd name="T0" fmla="*/ 240 w 267"/>
                <a:gd name="T1" fmla="*/ 162 h 216"/>
                <a:gd name="T2" fmla="*/ 241 w 267"/>
                <a:gd name="T3" fmla="*/ 157 h 216"/>
                <a:gd name="T4" fmla="*/ 242 w 267"/>
                <a:gd name="T5" fmla="*/ 150 h 216"/>
                <a:gd name="T6" fmla="*/ 267 w 267"/>
                <a:gd name="T7" fmla="*/ 136 h 216"/>
                <a:gd name="T8" fmla="*/ 241 w 267"/>
                <a:gd name="T9" fmla="*/ 122 h 216"/>
                <a:gd name="T10" fmla="*/ 238 w 267"/>
                <a:gd name="T11" fmla="*/ 111 h 216"/>
                <a:gd name="T12" fmla="*/ 242 w 267"/>
                <a:gd name="T13" fmla="*/ 111 h 216"/>
                <a:gd name="T14" fmla="*/ 242 w 267"/>
                <a:gd name="T15" fmla="*/ 78 h 216"/>
                <a:gd name="T16" fmla="*/ 221 w 267"/>
                <a:gd name="T17" fmla="*/ 76 h 216"/>
                <a:gd name="T18" fmla="*/ 219 w 267"/>
                <a:gd name="T19" fmla="*/ 42 h 216"/>
                <a:gd name="T20" fmla="*/ 203 w 267"/>
                <a:gd name="T21" fmla="*/ 56 h 216"/>
                <a:gd name="T22" fmla="*/ 204 w 267"/>
                <a:gd name="T23" fmla="*/ 33 h 216"/>
                <a:gd name="T24" fmla="*/ 170 w 267"/>
                <a:gd name="T25" fmla="*/ 33 h 216"/>
                <a:gd name="T26" fmla="*/ 170 w 267"/>
                <a:gd name="T27" fmla="*/ 36 h 216"/>
                <a:gd name="T28" fmla="*/ 159 w 267"/>
                <a:gd name="T29" fmla="*/ 32 h 216"/>
                <a:gd name="T30" fmla="*/ 148 w 267"/>
                <a:gd name="T31" fmla="*/ 2 h 216"/>
                <a:gd name="T32" fmla="*/ 133 w 267"/>
                <a:gd name="T33" fmla="*/ 26 h 216"/>
                <a:gd name="T34" fmla="*/ 121 w 267"/>
                <a:gd name="T35" fmla="*/ 26 h 216"/>
                <a:gd name="T36" fmla="*/ 107 w 267"/>
                <a:gd name="T37" fmla="*/ 0 h 216"/>
                <a:gd name="T38" fmla="*/ 95 w 267"/>
                <a:gd name="T39" fmla="*/ 29 h 216"/>
                <a:gd name="T40" fmla="*/ 83 w 267"/>
                <a:gd name="T41" fmla="*/ 32 h 216"/>
                <a:gd name="T42" fmla="*/ 67 w 267"/>
                <a:gd name="T43" fmla="*/ 10 h 216"/>
                <a:gd name="T44" fmla="*/ 56 w 267"/>
                <a:gd name="T45" fmla="*/ 39 h 216"/>
                <a:gd name="T46" fmla="*/ 44 w 267"/>
                <a:gd name="T47" fmla="*/ 42 h 216"/>
                <a:gd name="T48" fmla="*/ 28 w 267"/>
                <a:gd name="T49" fmla="*/ 20 h 216"/>
                <a:gd name="T50" fmla="*/ 17 w 267"/>
                <a:gd name="T51" fmla="*/ 50 h 216"/>
                <a:gd name="T52" fmla="*/ 13 w 267"/>
                <a:gd name="T53" fmla="*/ 51 h 216"/>
                <a:gd name="T54" fmla="*/ 1 w 267"/>
                <a:gd name="T55" fmla="*/ 202 h 216"/>
                <a:gd name="T56" fmla="*/ 23 w 267"/>
                <a:gd name="T57" fmla="*/ 80 h 216"/>
                <a:gd name="T58" fmla="*/ 88 w 267"/>
                <a:gd name="T59" fmla="*/ 54 h 216"/>
                <a:gd name="T60" fmla="*/ 221 w 267"/>
                <a:gd name="T61" fmla="*/ 142 h 216"/>
                <a:gd name="T62" fmla="*/ 220 w 267"/>
                <a:gd name="T63" fmla="*/ 157 h 216"/>
                <a:gd name="T64" fmla="*/ 232 w 267"/>
                <a:gd name="T65" fmla="*/ 216 h 216"/>
                <a:gd name="T66" fmla="*/ 236 w 267"/>
                <a:gd name="T67" fmla="*/ 189 h 216"/>
                <a:gd name="T68" fmla="*/ 264 w 267"/>
                <a:gd name="T69" fmla="*/ 17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16">
                  <a:moveTo>
                    <a:pt x="247" y="160"/>
                  </a:moveTo>
                  <a:cubicBezTo>
                    <a:pt x="245" y="160"/>
                    <a:pt x="242" y="161"/>
                    <a:pt x="240" y="162"/>
                  </a:cubicBezTo>
                  <a:cubicBezTo>
                    <a:pt x="240" y="162"/>
                    <a:pt x="240" y="162"/>
                    <a:pt x="240" y="162"/>
                  </a:cubicBezTo>
                  <a:cubicBezTo>
                    <a:pt x="241" y="157"/>
                    <a:pt x="241" y="157"/>
                    <a:pt x="241" y="157"/>
                  </a:cubicBezTo>
                  <a:cubicBezTo>
                    <a:pt x="241" y="155"/>
                    <a:pt x="241" y="152"/>
                    <a:pt x="242" y="150"/>
                  </a:cubicBezTo>
                  <a:cubicBezTo>
                    <a:pt x="242" y="150"/>
                    <a:pt x="242" y="150"/>
                    <a:pt x="242" y="150"/>
                  </a:cubicBezTo>
                  <a:cubicBezTo>
                    <a:pt x="244" y="152"/>
                    <a:pt x="247" y="152"/>
                    <a:pt x="250" y="152"/>
                  </a:cubicBezTo>
                  <a:cubicBezTo>
                    <a:pt x="260" y="152"/>
                    <a:pt x="267" y="145"/>
                    <a:pt x="267" y="136"/>
                  </a:cubicBezTo>
                  <a:cubicBezTo>
                    <a:pt x="267" y="126"/>
                    <a:pt x="260" y="119"/>
                    <a:pt x="250" y="119"/>
                  </a:cubicBezTo>
                  <a:cubicBezTo>
                    <a:pt x="247" y="119"/>
                    <a:pt x="243" y="120"/>
                    <a:pt x="241" y="122"/>
                  </a:cubicBezTo>
                  <a:cubicBezTo>
                    <a:pt x="241" y="122"/>
                    <a:pt x="241" y="122"/>
                    <a:pt x="241" y="122"/>
                  </a:cubicBezTo>
                  <a:cubicBezTo>
                    <a:pt x="240" y="118"/>
                    <a:pt x="239" y="115"/>
                    <a:pt x="238" y="111"/>
                  </a:cubicBezTo>
                  <a:cubicBezTo>
                    <a:pt x="238" y="111"/>
                    <a:pt x="238" y="111"/>
                    <a:pt x="238" y="111"/>
                  </a:cubicBezTo>
                  <a:cubicBezTo>
                    <a:pt x="240" y="111"/>
                    <a:pt x="241" y="111"/>
                    <a:pt x="242" y="111"/>
                  </a:cubicBezTo>
                  <a:cubicBezTo>
                    <a:pt x="251" y="111"/>
                    <a:pt x="259" y="104"/>
                    <a:pt x="259" y="95"/>
                  </a:cubicBezTo>
                  <a:cubicBezTo>
                    <a:pt x="259" y="85"/>
                    <a:pt x="251" y="78"/>
                    <a:pt x="242" y="78"/>
                  </a:cubicBezTo>
                  <a:cubicBezTo>
                    <a:pt x="236" y="78"/>
                    <a:pt x="231" y="81"/>
                    <a:pt x="228" y="86"/>
                  </a:cubicBezTo>
                  <a:cubicBezTo>
                    <a:pt x="226" y="82"/>
                    <a:pt x="224" y="79"/>
                    <a:pt x="221" y="76"/>
                  </a:cubicBezTo>
                  <a:cubicBezTo>
                    <a:pt x="230" y="75"/>
                    <a:pt x="236" y="68"/>
                    <a:pt x="236" y="59"/>
                  </a:cubicBezTo>
                  <a:cubicBezTo>
                    <a:pt x="236" y="50"/>
                    <a:pt x="229" y="42"/>
                    <a:pt x="219" y="42"/>
                  </a:cubicBezTo>
                  <a:cubicBezTo>
                    <a:pt x="211" y="42"/>
                    <a:pt x="205" y="48"/>
                    <a:pt x="203" y="56"/>
                  </a:cubicBezTo>
                  <a:cubicBezTo>
                    <a:pt x="203" y="56"/>
                    <a:pt x="203" y="56"/>
                    <a:pt x="203" y="56"/>
                  </a:cubicBezTo>
                  <a:cubicBezTo>
                    <a:pt x="200" y="53"/>
                    <a:pt x="197" y="51"/>
                    <a:pt x="194" y="49"/>
                  </a:cubicBezTo>
                  <a:cubicBezTo>
                    <a:pt x="200" y="46"/>
                    <a:pt x="204" y="40"/>
                    <a:pt x="204" y="33"/>
                  </a:cubicBezTo>
                  <a:cubicBezTo>
                    <a:pt x="204" y="24"/>
                    <a:pt x="196" y="16"/>
                    <a:pt x="187" y="16"/>
                  </a:cubicBezTo>
                  <a:cubicBezTo>
                    <a:pt x="178" y="16"/>
                    <a:pt x="170" y="24"/>
                    <a:pt x="170" y="33"/>
                  </a:cubicBezTo>
                  <a:cubicBezTo>
                    <a:pt x="170" y="34"/>
                    <a:pt x="170" y="35"/>
                    <a:pt x="170" y="36"/>
                  </a:cubicBezTo>
                  <a:cubicBezTo>
                    <a:pt x="170" y="36"/>
                    <a:pt x="170" y="36"/>
                    <a:pt x="170" y="36"/>
                  </a:cubicBezTo>
                  <a:cubicBezTo>
                    <a:pt x="167" y="34"/>
                    <a:pt x="163" y="33"/>
                    <a:pt x="159" y="32"/>
                  </a:cubicBezTo>
                  <a:cubicBezTo>
                    <a:pt x="159" y="32"/>
                    <a:pt x="159" y="32"/>
                    <a:pt x="159" y="32"/>
                  </a:cubicBezTo>
                  <a:cubicBezTo>
                    <a:pt x="162" y="28"/>
                    <a:pt x="164" y="24"/>
                    <a:pt x="164" y="19"/>
                  </a:cubicBezTo>
                  <a:cubicBezTo>
                    <a:pt x="164" y="10"/>
                    <a:pt x="157" y="2"/>
                    <a:pt x="148" y="2"/>
                  </a:cubicBezTo>
                  <a:cubicBezTo>
                    <a:pt x="138" y="2"/>
                    <a:pt x="131" y="10"/>
                    <a:pt x="131" y="19"/>
                  </a:cubicBezTo>
                  <a:cubicBezTo>
                    <a:pt x="131" y="22"/>
                    <a:pt x="131" y="24"/>
                    <a:pt x="133" y="26"/>
                  </a:cubicBezTo>
                  <a:cubicBezTo>
                    <a:pt x="129" y="26"/>
                    <a:pt x="125" y="26"/>
                    <a:pt x="122" y="26"/>
                  </a:cubicBezTo>
                  <a:cubicBezTo>
                    <a:pt x="121" y="26"/>
                    <a:pt x="121" y="26"/>
                    <a:pt x="121" y="26"/>
                  </a:cubicBezTo>
                  <a:cubicBezTo>
                    <a:pt x="123" y="23"/>
                    <a:pt x="124" y="20"/>
                    <a:pt x="124" y="17"/>
                  </a:cubicBezTo>
                  <a:cubicBezTo>
                    <a:pt x="124" y="8"/>
                    <a:pt x="116" y="0"/>
                    <a:pt x="107" y="0"/>
                  </a:cubicBezTo>
                  <a:cubicBezTo>
                    <a:pt x="97" y="0"/>
                    <a:pt x="90" y="8"/>
                    <a:pt x="90" y="17"/>
                  </a:cubicBezTo>
                  <a:cubicBezTo>
                    <a:pt x="90" y="22"/>
                    <a:pt x="92" y="26"/>
                    <a:pt x="95" y="29"/>
                  </a:cubicBezTo>
                  <a:cubicBezTo>
                    <a:pt x="91" y="30"/>
                    <a:pt x="87" y="31"/>
                    <a:pt x="83" y="32"/>
                  </a:cubicBezTo>
                  <a:cubicBezTo>
                    <a:pt x="83" y="32"/>
                    <a:pt x="83" y="32"/>
                    <a:pt x="83" y="32"/>
                  </a:cubicBezTo>
                  <a:cubicBezTo>
                    <a:pt x="84" y="30"/>
                    <a:pt x="84" y="29"/>
                    <a:pt x="84" y="27"/>
                  </a:cubicBezTo>
                  <a:cubicBezTo>
                    <a:pt x="84" y="18"/>
                    <a:pt x="77" y="10"/>
                    <a:pt x="67" y="10"/>
                  </a:cubicBezTo>
                  <a:cubicBezTo>
                    <a:pt x="58" y="10"/>
                    <a:pt x="50" y="18"/>
                    <a:pt x="50" y="27"/>
                  </a:cubicBezTo>
                  <a:cubicBezTo>
                    <a:pt x="50" y="32"/>
                    <a:pt x="53" y="36"/>
                    <a:pt x="56" y="39"/>
                  </a:cubicBezTo>
                  <a:cubicBezTo>
                    <a:pt x="44" y="42"/>
                    <a:pt x="44" y="42"/>
                    <a:pt x="44" y="42"/>
                  </a:cubicBezTo>
                  <a:cubicBezTo>
                    <a:pt x="44" y="42"/>
                    <a:pt x="44" y="42"/>
                    <a:pt x="44" y="42"/>
                  </a:cubicBezTo>
                  <a:cubicBezTo>
                    <a:pt x="45" y="41"/>
                    <a:pt x="45" y="39"/>
                    <a:pt x="45" y="37"/>
                  </a:cubicBezTo>
                  <a:cubicBezTo>
                    <a:pt x="45" y="28"/>
                    <a:pt x="37" y="20"/>
                    <a:pt x="28" y="20"/>
                  </a:cubicBezTo>
                  <a:cubicBezTo>
                    <a:pt x="19" y="20"/>
                    <a:pt x="11" y="28"/>
                    <a:pt x="11" y="37"/>
                  </a:cubicBezTo>
                  <a:cubicBezTo>
                    <a:pt x="11" y="42"/>
                    <a:pt x="14" y="47"/>
                    <a:pt x="17" y="50"/>
                  </a:cubicBezTo>
                  <a:cubicBezTo>
                    <a:pt x="17" y="50"/>
                    <a:pt x="17" y="50"/>
                    <a:pt x="17" y="50"/>
                  </a:cubicBezTo>
                  <a:cubicBezTo>
                    <a:pt x="13" y="51"/>
                    <a:pt x="13" y="51"/>
                    <a:pt x="13" y="51"/>
                  </a:cubicBezTo>
                  <a:cubicBezTo>
                    <a:pt x="0" y="54"/>
                    <a:pt x="1" y="69"/>
                    <a:pt x="1" y="69"/>
                  </a:cubicBezTo>
                  <a:cubicBezTo>
                    <a:pt x="1" y="202"/>
                    <a:pt x="1" y="202"/>
                    <a:pt x="1" y="202"/>
                  </a:cubicBezTo>
                  <a:cubicBezTo>
                    <a:pt x="21" y="202"/>
                    <a:pt x="21" y="202"/>
                    <a:pt x="21" y="202"/>
                  </a:cubicBezTo>
                  <a:cubicBezTo>
                    <a:pt x="23" y="80"/>
                    <a:pt x="23" y="80"/>
                    <a:pt x="23" y="80"/>
                  </a:cubicBezTo>
                  <a:cubicBezTo>
                    <a:pt x="23" y="80"/>
                    <a:pt x="22" y="71"/>
                    <a:pt x="29" y="70"/>
                  </a:cubicBezTo>
                  <a:cubicBezTo>
                    <a:pt x="56" y="63"/>
                    <a:pt x="88" y="54"/>
                    <a:pt x="88" y="54"/>
                  </a:cubicBezTo>
                  <a:cubicBezTo>
                    <a:pt x="99" y="51"/>
                    <a:pt x="110" y="49"/>
                    <a:pt x="121" y="49"/>
                  </a:cubicBezTo>
                  <a:cubicBezTo>
                    <a:pt x="177" y="49"/>
                    <a:pt x="221" y="91"/>
                    <a:pt x="221" y="142"/>
                  </a:cubicBezTo>
                  <a:cubicBezTo>
                    <a:pt x="221" y="147"/>
                    <a:pt x="221" y="152"/>
                    <a:pt x="220" y="157"/>
                  </a:cubicBezTo>
                  <a:cubicBezTo>
                    <a:pt x="220" y="157"/>
                    <a:pt x="220" y="157"/>
                    <a:pt x="220" y="157"/>
                  </a:cubicBezTo>
                  <a:cubicBezTo>
                    <a:pt x="212" y="214"/>
                    <a:pt x="212" y="214"/>
                    <a:pt x="212" y="214"/>
                  </a:cubicBezTo>
                  <a:cubicBezTo>
                    <a:pt x="232" y="216"/>
                    <a:pt x="232" y="216"/>
                    <a:pt x="232" y="216"/>
                  </a:cubicBezTo>
                  <a:cubicBezTo>
                    <a:pt x="233" y="206"/>
                    <a:pt x="235" y="197"/>
                    <a:pt x="236" y="189"/>
                  </a:cubicBezTo>
                  <a:cubicBezTo>
                    <a:pt x="236" y="189"/>
                    <a:pt x="236" y="189"/>
                    <a:pt x="236" y="189"/>
                  </a:cubicBezTo>
                  <a:cubicBezTo>
                    <a:pt x="239" y="192"/>
                    <a:pt x="243" y="194"/>
                    <a:pt x="247" y="194"/>
                  </a:cubicBezTo>
                  <a:cubicBezTo>
                    <a:pt x="256" y="194"/>
                    <a:pt x="264" y="186"/>
                    <a:pt x="264" y="177"/>
                  </a:cubicBezTo>
                  <a:cubicBezTo>
                    <a:pt x="264" y="167"/>
                    <a:pt x="256" y="160"/>
                    <a:pt x="247" y="1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 name="Picture 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4279" y="6427222"/>
            <a:ext cx="1194305" cy="484269"/>
          </a:xfrm>
          <a:prstGeom prst="rect">
            <a:avLst/>
          </a:prstGeom>
        </p:spPr>
      </p:pic>
    </p:spTree>
  </p:cSld>
  <p:clrMap bg1="lt1" tx1="dk1" bg2="lt2" tx2="dk2" accent1="accent1" accent2="accent2" accent3="accent3" accent4="accent4" accent5="accent5" accent6="accent6" hlink="hlink" folHlink="folHlink"/>
  <p:sldLayoutIdLst>
    <p:sldLayoutId id="2147483976" r:id="rId1"/>
    <p:sldLayoutId id="2147483965" r:id="rId2"/>
    <p:sldLayoutId id="2147483966" r:id="rId3"/>
    <p:sldLayoutId id="2147483962" r:id="rId4"/>
    <p:sldLayoutId id="2147483963" r:id="rId5"/>
    <p:sldLayoutId id="2147483968" r:id="rId6"/>
    <p:sldLayoutId id="2147483964" r:id="rId7"/>
    <p:sldLayoutId id="2147483973" r:id="rId8"/>
    <p:sldLayoutId id="2147483974" r:id="rId9"/>
    <p:sldLayoutId id="2147483975"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10.102.81.252/browse/CDSP-3308"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10.102.81.252/browse/CDSP-3324"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6818" y="3212976"/>
            <a:ext cx="6224133" cy="485336"/>
          </a:xfrm>
        </p:spPr>
        <p:txBody>
          <a:bodyPr/>
          <a:lstStyle/>
          <a:p>
            <a:r>
              <a:rPr lang="en-GB" dirty="0" smtClean="0"/>
              <a:t>Sprint Review R2.2</a:t>
            </a:r>
            <a:endParaRPr lang="en-GB" dirty="0"/>
          </a:p>
        </p:txBody>
      </p:sp>
      <p:sp>
        <p:nvSpPr>
          <p:cNvPr id="3" name="Subtitle 2"/>
          <p:cNvSpPr>
            <a:spLocks noGrp="1"/>
          </p:cNvSpPr>
          <p:nvPr>
            <p:ph type="subTitle" idx="1"/>
          </p:nvPr>
        </p:nvSpPr>
        <p:spPr/>
        <p:txBody>
          <a:bodyPr/>
          <a:lstStyle/>
          <a:p>
            <a:r>
              <a:rPr lang="en-GB" dirty="0" smtClean="0"/>
              <a:t>Carriage team </a:t>
            </a:r>
            <a:endParaRPr lang="en-GB" dirty="0"/>
          </a:p>
        </p:txBody>
      </p:sp>
      <p:sp>
        <p:nvSpPr>
          <p:cNvPr id="5" name="Text Placeholder 4"/>
          <p:cNvSpPr>
            <a:spLocks noGrp="1"/>
          </p:cNvSpPr>
          <p:nvPr>
            <p:ph type="body" sz="quarter" idx="13"/>
          </p:nvPr>
        </p:nvSpPr>
        <p:spPr/>
        <p:txBody>
          <a:bodyPr/>
          <a:lstStyle/>
          <a:p>
            <a:r>
              <a:rPr lang="en-GB" dirty="0" smtClean="0"/>
              <a:t>09 Oct 2018</a:t>
            </a:r>
            <a:endParaRPr lang="en-GB" dirty="0"/>
          </a:p>
        </p:txBody>
      </p:sp>
    </p:spTree>
    <p:extLst>
      <p:ext uri="{BB962C8B-B14F-4D97-AF65-F5344CB8AC3E}">
        <p14:creationId xmlns:p14="http://schemas.microsoft.com/office/powerpoint/2010/main" val="7035815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Sprint Goal </a:t>
            </a:r>
            <a:r>
              <a:rPr lang="en-GB" sz="2400" dirty="0"/>
              <a:t>–Creation of Duty Deferment Account</a:t>
            </a:r>
          </a:p>
        </p:txBody>
      </p:sp>
      <p:sp>
        <p:nvSpPr>
          <p:cNvPr id="10" name="TextBox 9"/>
          <p:cNvSpPr txBox="1"/>
          <p:nvPr/>
        </p:nvSpPr>
        <p:spPr>
          <a:xfrm>
            <a:off x="272480" y="1052736"/>
            <a:ext cx="4752528" cy="307777"/>
          </a:xfrm>
          <a:prstGeom prst="rect">
            <a:avLst/>
          </a:prstGeom>
          <a:noFill/>
        </p:spPr>
        <p:txBody>
          <a:bodyPr wrap="square" rtlCol="0">
            <a:spAutoFit/>
          </a:bodyPr>
          <a:lstStyle/>
          <a:p>
            <a:r>
              <a:rPr lang="en-GB" sz="1400" b="1" dirty="0" smtClean="0">
                <a:solidFill>
                  <a:schemeClr val="tx2">
                    <a:lumMod val="50000"/>
                  </a:schemeClr>
                </a:solidFill>
              </a:rPr>
              <a:t>Summary of completed work in Sprint 2.2</a:t>
            </a:r>
          </a:p>
        </p:txBody>
      </p:sp>
      <p:sp>
        <p:nvSpPr>
          <p:cNvPr id="5" name="TextBox 4"/>
          <p:cNvSpPr txBox="1"/>
          <p:nvPr/>
        </p:nvSpPr>
        <p:spPr>
          <a:xfrm>
            <a:off x="560512" y="1412776"/>
            <a:ext cx="8352928" cy="6555641"/>
          </a:xfrm>
          <a:prstGeom prst="rect">
            <a:avLst/>
          </a:prstGeom>
          <a:noFill/>
        </p:spPr>
        <p:txBody>
          <a:bodyPr wrap="square" rtlCol="0">
            <a:spAutoFit/>
          </a:bodyPr>
          <a:lstStyle/>
          <a:p>
            <a:pPr marL="285750" indent="-285750">
              <a:buFont typeface="Arial" panose="020B0604020202020204" pitchFamily="34" charset="0"/>
              <a:buChar char="•"/>
            </a:pPr>
            <a:endParaRPr lang="en-GB" sz="1400" dirty="0" smtClean="0">
              <a:solidFill>
                <a:schemeClr val="tx2">
                  <a:lumMod val="50000"/>
                </a:schemeClr>
              </a:solidFill>
            </a:endParaRPr>
          </a:p>
          <a:p>
            <a:r>
              <a:rPr lang="en-GB" sz="1400" dirty="0"/>
              <a:t> </a:t>
            </a:r>
          </a:p>
          <a:p>
            <a:pPr marL="285750" lvl="0" indent="-285750">
              <a:buFont typeface="Arial" panose="020B0604020202020204" pitchFamily="34" charset="0"/>
              <a:buChar char="•"/>
            </a:pPr>
            <a:r>
              <a:rPr lang="en-GB" sz="1400" dirty="0"/>
              <a:t>Feature </a:t>
            </a:r>
            <a:r>
              <a:rPr lang="en-GB" sz="1400" dirty="0"/>
              <a:t>CDSP-3308</a:t>
            </a:r>
            <a:r>
              <a:rPr lang="en-GB" sz="1400" dirty="0" smtClean="0"/>
              <a:t> </a:t>
            </a:r>
            <a:r>
              <a:rPr lang="en-GB" sz="1400" dirty="0" smtClean="0"/>
              <a:t>(</a:t>
            </a:r>
            <a:r>
              <a:rPr lang="en-GB" sz="1400" dirty="0"/>
              <a:t>Creation of Duty Deferment </a:t>
            </a:r>
            <a:r>
              <a:rPr lang="en-GB" sz="1400" dirty="0" smtClean="0"/>
              <a:t>Account)</a:t>
            </a:r>
          </a:p>
          <a:p>
            <a:pPr marL="285750" lvl="0" indent="-285750">
              <a:buFont typeface="Arial" panose="020B0604020202020204" pitchFamily="34" charset="0"/>
              <a:buChar char="•"/>
            </a:pPr>
            <a:r>
              <a:rPr lang="en-GB" sz="1400" dirty="0" smtClean="0"/>
              <a:t> </a:t>
            </a:r>
            <a:r>
              <a:rPr lang="en-GB" sz="1400" dirty="0">
                <a:hlinkClick r:id="rId3"/>
              </a:rPr>
              <a:t>http://</a:t>
            </a:r>
            <a:r>
              <a:rPr lang="en-GB" sz="1400" dirty="0" smtClean="0">
                <a:hlinkClick r:id="rId3"/>
              </a:rPr>
              <a:t>10.102.81.252/browse/CDSP-330</a:t>
            </a:r>
            <a:r>
              <a:rPr lang="en-GB" sz="1400" dirty="0" smtClean="0">
                <a:solidFill>
                  <a:srgbClr val="FF0000"/>
                </a:solidFill>
                <a:hlinkClick r:id="rId3"/>
              </a:rPr>
              <a:t>8</a:t>
            </a:r>
            <a:endParaRPr lang="en-GB" sz="1400" dirty="0" smtClean="0">
              <a:solidFill>
                <a:srgbClr val="FF0000"/>
              </a:solidFill>
            </a:endParaRPr>
          </a:p>
          <a:p>
            <a:pPr marL="285750" lvl="0" indent="-285750">
              <a:buFont typeface="Arial" panose="020B0604020202020204" pitchFamily="34" charset="0"/>
              <a:buChar char="•"/>
            </a:pPr>
            <a:endParaRPr lang="en-GB" sz="1400" dirty="0" smtClean="0"/>
          </a:p>
          <a:p>
            <a:pPr marL="764628" lvl="1" indent="-285750">
              <a:buFont typeface="Arial" panose="020B0604020202020204" pitchFamily="34" charset="0"/>
              <a:buChar char="•"/>
            </a:pPr>
            <a:r>
              <a:rPr lang="en-GB" sz="1400" dirty="0" smtClean="0"/>
              <a:t>Due to the issue regarding the delivery of finance within ETMP for the early CDS releases, a business decision was made to continue the use of DDS for the management of duty deferment. The CDS strategic processes for creation and management of duty deferment accounts require the explicit presence of ETMP as primary host to those accounts.</a:t>
            </a:r>
          </a:p>
          <a:p>
            <a:pPr marL="764628" lvl="1" indent="-285750">
              <a:buFont typeface="Arial" panose="020B0604020202020204" pitchFamily="34" charset="0"/>
              <a:buChar char="•"/>
            </a:pPr>
            <a:endParaRPr lang="en-GB" sz="1400" dirty="0" smtClean="0"/>
          </a:p>
          <a:p>
            <a:pPr marL="764628" lvl="1" indent="-285750">
              <a:buFont typeface="Arial" panose="020B0604020202020204" pitchFamily="34" charset="0"/>
              <a:buChar char="•"/>
            </a:pPr>
            <a:r>
              <a:rPr lang="en-GB" sz="1400" dirty="0" smtClean="0"/>
              <a:t>For </a:t>
            </a:r>
            <a:r>
              <a:rPr lang="en-GB" sz="1400" dirty="0"/>
              <a:t>CDS Release 2, due to the decision to remain on legacy finance and the potential increase in volume of accounts which must be mirrored within SPS, there is a requirement to provide a duty deferment creation &amp; management solution which will be more capable of dealing with that increase in volume, mitigating the impact to the business and the trade of continuing with the tactical </a:t>
            </a:r>
            <a:r>
              <a:rPr lang="en-GB" sz="1400" dirty="0" smtClean="0"/>
              <a:t>solution.</a:t>
            </a:r>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r>
              <a:rPr lang="en-GB" sz="1400" dirty="0"/>
              <a:t>This will be out of process (legacy finance system: CECAS), and the DAN will be manually entered into the Registration Case Management system (RCM) which will send the message directly to </a:t>
            </a:r>
            <a:r>
              <a:rPr lang="en-GB" sz="1400" dirty="0" smtClean="0"/>
              <a:t>SPS. SPS </a:t>
            </a:r>
            <a:r>
              <a:rPr lang="en-GB" sz="1400" dirty="0"/>
              <a:t>will specifically not record bank details.  If they are sent they can be silently ignored and not </a:t>
            </a:r>
            <a:r>
              <a:rPr lang="en-GB" sz="1400" dirty="0" smtClean="0"/>
              <a:t>recorded</a:t>
            </a:r>
            <a:r>
              <a:rPr lang="en-GB" sz="1400" dirty="0" smtClean="0"/>
              <a:t>.  In </a:t>
            </a:r>
            <a:r>
              <a:rPr lang="en-GB" sz="1400" dirty="0"/>
              <a:t>addition to creating the deferment account number (which </a:t>
            </a:r>
            <a:r>
              <a:rPr lang="en-GB" sz="1400" dirty="0"/>
              <a:t>will now be manually entered) ETMP also generates guarantee account numbers (GAN</a:t>
            </a:r>
            <a:r>
              <a:rPr lang="en-GB" sz="1400" dirty="0"/>
              <a:t>) which will now be generated by </a:t>
            </a:r>
            <a:r>
              <a:rPr lang="en-GB" sz="1400" dirty="0" smtClean="0"/>
              <a:t>SPS (</a:t>
            </a:r>
            <a:r>
              <a:rPr lang="en-GB" sz="1400" smtClean="0"/>
              <a:t>in Release 2)</a:t>
            </a:r>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lvl="1"/>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18341685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476584"/>
            <a:ext cx="9905999" cy="432136"/>
          </a:xfrm>
        </p:spPr>
        <p:txBody>
          <a:bodyPr/>
          <a:lstStyle/>
          <a:p>
            <a:r>
              <a:rPr lang="en-GB" dirty="0"/>
              <a:t>Overall Process View</a:t>
            </a:r>
            <a:br>
              <a:rPr lang="en-GB" dirty="0"/>
            </a:b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487" y="1952625"/>
            <a:ext cx="8963025" cy="2952750"/>
          </a:xfrm>
          <a:prstGeom prst="rect">
            <a:avLst/>
          </a:prstGeom>
        </p:spPr>
      </p:pic>
    </p:spTree>
    <p:extLst>
      <p:ext uri="{BB962C8B-B14F-4D97-AF65-F5344CB8AC3E}">
        <p14:creationId xmlns:p14="http://schemas.microsoft.com/office/powerpoint/2010/main" val="41944857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455177"/>
            <a:ext cx="9905999" cy="741575"/>
          </a:xfrm>
        </p:spPr>
        <p:txBody>
          <a:bodyPr/>
          <a:lstStyle/>
          <a:p>
            <a:r>
              <a:rPr lang="en-GB" sz="2400" dirty="0" smtClean="0"/>
              <a:t>Sprint Goal –</a:t>
            </a:r>
            <a:r>
              <a:rPr lang="en-GB" sz="2400" dirty="0"/>
              <a:t>LiSCA to copy and send SPIRE License update (inbound) file to </a:t>
            </a:r>
            <a:r>
              <a:rPr lang="en-GB" sz="2400" dirty="0" smtClean="0"/>
              <a:t>ILMS </a:t>
            </a:r>
            <a:r>
              <a:rPr lang="en-GB" sz="2400" dirty="0"/>
              <a:t>+ Acknowledgement</a:t>
            </a:r>
            <a:br>
              <a:rPr lang="en-GB" sz="2400" dirty="0"/>
            </a:br>
            <a:endParaRPr lang="en-GB" sz="2400" dirty="0"/>
          </a:p>
        </p:txBody>
      </p:sp>
      <p:sp>
        <p:nvSpPr>
          <p:cNvPr id="10" name="TextBox 9"/>
          <p:cNvSpPr txBox="1"/>
          <p:nvPr/>
        </p:nvSpPr>
        <p:spPr>
          <a:xfrm>
            <a:off x="272480" y="1052736"/>
            <a:ext cx="4752528" cy="307777"/>
          </a:xfrm>
          <a:prstGeom prst="rect">
            <a:avLst/>
          </a:prstGeom>
          <a:noFill/>
        </p:spPr>
        <p:txBody>
          <a:bodyPr wrap="square" rtlCol="0">
            <a:spAutoFit/>
          </a:bodyPr>
          <a:lstStyle/>
          <a:p>
            <a:r>
              <a:rPr lang="en-GB" sz="1400" b="1" dirty="0" smtClean="0">
                <a:solidFill>
                  <a:schemeClr val="tx2">
                    <a:lumMod val="50000"/>
                  </a:schemeClr>
                </a:solidFill>
              </a:rPr>
              <a:t>Summary of completed work in Sprint 2.2</a:t>
            </a:r>
          </a:p>
        </p:txBody>
      </p:sp>
      <p:sp>
        <p:nvSpPr>
          <p:cNvPr id="5" name="TextBox 4"/>
          <p:cNvSpPr txBox="1"/>
          <p:nvPr/>
        </p:nvSpPr>
        <p:spPr>
          <a:xfrm>
            <a:off x="560512" y="1412776"/>
            <a:ext cx="8352928" cy="5909310"/>
          </a:xfrm>
          <a:prstGeom prst="rect">
            <a:avLst/>
          </a:prstGeom>
          <a:noFill/>
        </p:spPr>
        <p:txBody>
          <a:bodyPr wrap="square" rtlCol="0">
            <a:spAutoFit/>
          </a:bodyPr>
          <a:lstStyle/>
          <a:p>
            <a:pPr marL="285750" indent="-285750">
              <a:buFont typeface="Arial" panose="020B0604020202020204" pitchFamily="34" charset="0"/>
              <a:buChar char="•"/>
            </a:pPr>
            <a:endParaRPr lang="en-GB" sz="1400" dirty="0" smtClean="0">
              <a:solidFill>
                <a:schemeClr val="tx2">
                  <a:lumMod val="50000"/>
                </a:schemeClr>
              </a:solidFill>
            </a:endParaRPr>
          </a:p>
          <a:p>
            <a:r>
              <a:rPr lang="en-GB" sz="1400" dirty="0"/>
              <a:t> </a:t>
            </a:r>
          </a:p>
          <a:p>
            <a:pPr marL="285750" lvl="0" indent="-285750">
              <a:buFont typeface="Arial" panose="020B0604020202020204" pitchFamily="34" charset="0"/>
              <a:buChar char="•"/>
            </a:pPr>
            <a:r>
              <a:rPr lang="en-GB" sz="1400" dirty="0"/>
              <a:t>Feature </a:t>
            </a:r>
            <a:r>
              <a:rPr lang="en-GB" sz="1400" dirty="0" smtClean="0"/>
              <a:t>CDSP-3218 (</a:t>
            </a:r>
            <a:r>
              <a:rPr lang="en-GB" sz="1400" dirty="0"/>
              <a:t>Creation of Duty Deferment </a:t>
            </a:r>
            <a:r>
              <a:rPr lang="en-GB" sz="1400" dirty="0" smtClean="0"/>
              <a:t>Account)</a:t>
            </a:r>
          </a:p>
          <a:p>
            <a:pPr marL="285750" lvl="0" indent="-285750">
              <a:buFont typeface="Arial" panose="020B0604020202020204" pitchFamily="34" charset="0"/>
              <a:buChar char="•"/>
            </a:pPr>
            <a:r>
              <a:rPr lang="en-GB" sz="1400" dirty="0"/>
              <a:t> </a:t>
            </a:r>
            <a:r>
              <a:rPr lang="en-GB" sz="1400" dirty="0">
                <a:hlinkClick r:id="rId3"/>
              </a:rPr>
              <a:t>http://</a:t>
            </a:r>
            <a:r>
              <a:rPr lang="en-GB" sz="1400" dirty="0" smtClean="0">
                <a:hlinkClick r:id="rId3"/>
              </a:rPr>
              <a:t>10.102.81.252/browse/CDSP-3324</a:t>
            </a:r>
            <a:endParaRPr lang="en-GB" sz="1400" dirty="0" smtClean="0"/>
          </a:p>
          <a:p>
            <a:pPr marL="285750" lvl="0" indent="-285750">
              <a:buFont typeface="Arial" panose="020B0604020202020204" pitchFamily="34" charset="0"/>
              <a:buChar char="•"/>
            </a:pPr>
            <a:endParaRPr lang="en-GB" sz="1400" dirty="0" smtClean="0"/>
          </a:p>
          <a:p>
            <a:r>
              <a:rPr lang="en-GB" sz="1400" b="1" dirty="0"/>
              <a:t>License SPIRE update (Inbound files)</a:t>
            </a:r>
            <a:endParaRPr lang="en-GB" sz="1400" dirty="0"/>
          </a:p>
          <a:p>
            <a:r>
              <a:rPr lang="en-GB" sz="1400" dirty="0"/>
              <a:t>LiSCA copies SPIRE update file</a:t>
            </a:r>
          </a:p>
          <a:p>
            <a:r>
              <a:rPr lang="en-GB" sz="1400" dirty="0"/>
              <a:t>LiSCA copy of SPIRE export update (inbound) file received in MDG S3 Bucket AWS</a:t>
            </a:r>
          </a:p>
          <a:p>
            <a:r>
              <a:rPr lang="en-GB" sz="1400" dirty="0"/>
              <a:t>SPIRE export update (inbound) file from MDG S3 Bucket AWS is received in ILMS</a:t>
            </a:r>
          </a:p>
          <a:p>
            <a:r>
              <a:rPr lang="en-GB" sz="1400" dirty="0"/>
              <a:t>Errors generated and sent to ELK Ops if unsuccessful receipt/sending of files</a:t>
            </a:r>
          </a:p>
          <a:p>
            <a:r>
              <a:rPr lang="en-GB" sz="1400" dirty="0"/>
              <a:t>Error generated and sent to ELK Ops if copy generation of files is </a:t>
            </a:r>
            <a:r>
              <a:rPr lang="en-GB" sz="1400" dirty="0" smtClean="0"/>
              <a:t>unsuccessful</a:t>
            </a:r>
          </a:p>
          <a:p>
            <a:endParaRPr lang="en-GB" sz="1400" dirty="0"/>
          </a:p>
          <a:p>
            <a:r>
              <a:rPr lang="en-GB" sz="1400" b="1" dirty="0"/>
              <a:t>License SPIRE update acknowledgement files (ILMS to DIT (SPIRE))</a:t>
            </a:r>
            <a:endParaRPr lang="en-GB" sz="1400" dirty="0"/>
          </a:p>
          <a:p>
            <a:r>
              <a:rPr lang="en-GB" sz="1400" dirty="0"/>
              <a:t>SPIRE export license update acknowledgement from ILMS is received in MDG S3 Bucket AWS</a:t>
            </a:r>
          </a:p>
          <a:p>
            <a:r>
              <a:rPr lang="en-GB" sz="1400" dirty="0"/>
              <a:t>LiSCA pulls SPIRE export license update acknowledgement from MDG S3 Bucket AWS</a:t>
            </a:r>
          </a:p>
          <a:p>
            <a:r>
              <a:rPr lang="en-GB" sz="1400" dirty="0"/>
              <a:t>Errors generated and sent to ELK Ops if unsuccessful receipt of </a:t>
            </a:r>
            <a:r>
              <a:rPr lang="en-GB" sz="1400" dirty="0" smtClean="0"/>
              <a:t>files</a:t>
            </a:r>
          </a:p>
          <a:p>
            <a:endParaRPr lang="en-GB" sz="1400" dirty="0"/>
          </a:p>
          <a:p>
            <a:r>
              <a:rPr lang="en-GB" sz="1400" b="1" dirty="0"/>
              <a:t>Acknowledgement comparison</a:t>
            </a:r>
            <a:endParaRPr lang="en-GB" sz="1400" dirty="0"/>
          </a:p>
          <a:p>
            <a:r>
              <a:rPr lang="en-GB" sz="1400" dirty="0"/>
              <a:t>LiSCA compares acknowledgement file from CHIEF with acknowledgement from ILMS</a:t>
            </a:r>
          </a:p>
          <a:p>
            <a:r>
              <a:rPr lang="en-GB" sz="1400" dirty="0"/>
              <a:t>For any discrepancies found appropriate measures/flags are taken</a:t>
            </a:r>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lvl="1"/>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a:p>
            <a:pPr marL="764628" lvl="1"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19953188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476584"/>
            <a:ext cx="9905999" cy="432136"/>
          </a:xfrm>
        </p:spPr>
        <p:txBody>
          <a:bodyPr/>
          <a:lstStyle/>
          <a:p>
            <a:r>
              <a:rPr lang="en-GB" dirty="0"/>
              <a:t>Overall Process View</a:t>
            </a:r>
            <a:br>
              <a:rPr lang="en-GB" dirty="0"/>
            </a:br>
            <a:endParaRPr lang="en-GB" dirty="0"/>
          </a:p>
        </p:txBody>
      </p:sp>
      <p:pic>
        <p:nvPicPr>
          <p:cNvPr id="3" name="Picture 2"/>
          <p:cNvPicPr>
            <a:picLocks noChangeAspect="1"/>
          </p:cNvPicPr>
          <p:nvPr/>
        </p:nvPicPr>
        <p:blipFill>
          <a:blip r:embed="rId2"/>
          <a:stretch>
            <a:fillRect/>
          </a:stretch>
        </p:blipFill>
        <p:spPr>
          <a:xfrm>
            <a:off x="1928664" y="1124744"/>
            <a:ext cx="4995754" cy="4644389"/>
          </a:xfrm>
          <a:prstGeom prst="rect">
            <a:avLst/>
          </a:prstGeom>
        </p:spPr>
      </p:pic>
    </p:spTree>
    <p:extLst>
      <p:ext uri="{BB962C8B-B14F-4D97-AF65-F5344CB8AC3E}">
        <p14:creationId xmlns:p14="http://schemas.microsoft.com/office/powerpoint/2010/main" val="8982758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Capgemini Fujitsu Accenture HMRC Account Template">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Presentation1" id="{6E9AA804-27C8-4391-B1C6-6AD33BB7D5D8}" vid="{B54296CD-0436-4E75-B393-186E4F4984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BMF Document" ma:contentTypeID="0x010100935B086D9923B74AA2A1E4D20E9BB9220086079DA00C05164E8E3DD17CD0540BFF" ma:contentTypeVersion="55" ma:contentTypeDescription="" ma:contentTypeScope="" ma:versionID="c2478c7b3db7a0778e94a5de067ffd03">
  <xsd:schema xmlns:xsd="http://www.w3.org/2001/XMLSchema" xmlns:xs="http://www.w3.org/2001/XMLSchema" xmlns:p="http://schemas.microsoft.com/office/2006/metadata/properties" xmlns:ns2="82a9a9f6-36e5-4b66-983a-e41005688d4e" targetNamespace="http://schemas.microsoft.com/office/2006/metadata/properties" ma:root="true" ma:fieldsID="83976375ed5121f60914e2ad69e97d9b" ns2:_="">
    <xsd:import namespace="82a9a9f6-36e5-4b66-983a-e41005688d4e"/>
    <xsd:element name="properties">
      <xsd:complexType>
        <xsd:sequence>
          <xsd:element name="documentManagement">
            <xsd:complexType>
              <xsd:all>
                <xsd:element ref="ns2:DocumentStatus"/>
                <xsd:element ref="ns2:DocumentOwner"/>
                <xsd:element ref="ns2:ReviewOwner"/>
                <xsd:element ref="ns2:DocumentType"/>
                <xsd:element ref="ns2:Approved"/>
                <xsd:element ref="ns2:LastReview"/>
                <xsd:element ref="ns2:EndReview" minOccurs="0"/>
                <xsd:element ref="ns2:HMRCReviewer" minOccurs="0"/>
                <xsd:element ref="ns2:PPM" minOccurs="0"/>
                <xsd:element ref="ns2:DocumentComments" minOccurs="0"/>
                <xsd:element ref="ns2:DeliveryPhase" minOccurs="0"/>
                <xsd:element ref="ns2:ServiceLevelSupplier" minOccurs="0"/>
                <xsd:element ref="ns2:ContentType1" minOccurs="0"/>
                <xsd:element ref="ns2:DocumentSetContributor" minOccurs="0"/>
                <xsd:element ref="ns2:DeliveryUnit"/>
                <xsd:element ref="ns2:DocumentSet" minOccurs="0"/>
                <xsd:element ref="ns2:Team" minOccurs="0"/>
                <xsd:element ref="ns2:FunctionalUnit" minOccurs="0"/>
                <xsd:element ref="ns2:BUCF"/>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9a9f6-36e5-4b66-983a-e41005688d4e" elementFormDefault="qualified">
    <xsd:import namespace="http://schemas.microsoft.com/office/2006/documentManagement/types"/>
    <xsd:import namespace="http://schemas.microsoft.com/office/infopath/2007/PartnerControls"/>
    <xsd:element name="DocumentStatus" ma:index="2" ma:displayName="Document Status" ma:default="Approved" ma:description="Status will be either Approved or Withdrawn. Select from a drop-down list. 'Approved will be the default value." ma:format="Dropdown" ma:internalName="DocumentStatus" ma:readOnly="false">
      <xsd:simpleType>
        <xsd:restriction base="dms:Choice">
          <xsd:enumeration value="Approved"/>
          <xsd:enumeration value="Withdrawn"/>
        </xsd:restriction>
      </xsd:simpleType>
    </xsd:element>
    <xsd:element name="DocumentOwner" ma:index="3" ma:displayName="Document Owner" ma:description="Must be the owner's name. Document Owner is the user whereby the document/s reviews will be escalated." ma:list="UserInfo" ma:SharePointGroup="0" ma:internalName="Documen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viewOwner" ma:index="4" ma:displayName="Review Owner" ma:description="Must be the owner's name. Review Owner is the user whereby the document/s will be reviewed and maintained." ma:list="UserInfo" ma:SharePointGroup="0" ma:internalName="Review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Type" ma:index="5" ma:displayName="Document Type" ma:description="Where the documentfits within the BMF. Select from the drop-down list." ma:format="Dropdown" ma:internalName="DocumentType" ma:readOnly="false">
      <xsd:simpleType>
        <xsd:restriction base="dms:Choice">
          <xsd:enumeration value="A     Quality Plans"/>
          <xsd:enumeration value="B     Strategy"/>
          <xsd:enumeration value="C     Standards"/>
          <xsd:enumeration value="D     Policies"/>
          <xsd:enumeration value="E     Processes"/>
          <xsd:enumeration value="F     Procedures"/>
          <xsd:enumeration value="G     Work Instruction"/>
          <xsd:enumeration value="H     Templates"/>
          <xsd:enumeration value="I     Guidelines"/>
          <xsd:enumeration value="J     Checklists"/>
          <xsd:enumeration value="K     Roles and Responsibilities"/>
          <xsd:enumeration value="L     Good Practice"/>
          <xsd:enumeration value="M     Process Flow Diagrams"/>
          <xsd:enumeration value="N     Meeting ToR"/>
          <xsd:enumeration value="O     60 Second Guides"/>
          <xsd:enumeration value="Z     Others"/>
        </xsd:restriction>
      </xsd:simpleType>
    </xsd:element>
    <xsd:element name="Approved" ma:index="6" ma:displayName="Approved" ma:description="Date the document was last approved." ma:format="DateOnly" ma:internalName="Approved" ma:readOnly="false">
      <xsd:simpleType>
        <xsd:restriction base="dms:DateTime"/>
      </xsd:simpleType>
    </xsd:element>
    <xsd:element name="LastReview" ma:index="7" ma:displayName="Last Review" ma:description="The date of the last review. &#10;Will always be equal to or earlier than the approved date." ma:format="DateOnly" ma:internalName="LastReview" ma:readOnly="false">
      <xsd:simpleType>
        <xsd:restriction base="dms:DateTime"/>
      </xsd:simpleType>
    </xsd:element>
    <xsd:element name="EndReview" ma:index="8" nillable="true" ma:displayName="End Review" ma:format="DateOnly" ma:hidden="true" ma:internalName="EndReview" ma:readOnly="false">
      <xsd:simpleType>
        <xsd:restriction base="dms:DateTime"/>
      </xsd:simpleType>
    </xsd:element>
    <xsd:element name="HMRCReviewer" ma:index="9" nillable="true" ma:displayName="HMRC Reviewer" ma:description="Only applicable to a small number of documents where the reviewer will be HMRC" ma:internalName="HMRCReviewer" ma:readOnly="false">
      <xsd:simpleType>
        <xsd:restriction base="dms:Text">
          <xsd:maxLength value="20"/>
        </xsd:restriction>
      </xsd:simpleType>
    </xsd:element>
    <xsd:element name="PPM" ma:index="10" nillable="true" ma:displayName="PPM" ma:default="00 NA" ma:description="Indicates the section of the PPM if the document is part of the policy and procedures manual (PPM)" ma:format="Dropdown" ma:internalName="PPM" ma:readOnly="false">
      <xsd:simpleType>
        <xsd:restriction base="dms:Choice">
          <xsd:enumeration value="00 NA"/>
          <xsd:enumeration value="02 Organisation"/>
          <xsd:enumeration value="04 Services Review"/>
          <xsd:enumeration value="05 Service Reports"/>
          <xsd:enumeration value="06 Deliverables Mgt"/>
          <xsd:enumeration value="07 Service Mgt"/>
          <xsd:enumeration value="08 User Complaints"/>
          <xsd:enumeration value="09 Service Issues"/>
          <xsd:enumeration value="10 Perf Mgt &amp; Esc"/>
          <xsd:enumeration value="11 Audit"/>
          <xsd:enumeration value="13 Change Mgt"/>
          <xsd:enumeration value="14 Cust Rel Mgt"/>
          <xsd:enumeration value="15 Order &amp; Invoicing"/>
          <xsd:enumeration value="16 Open Book"/>
          <xsd:enumeration value="17 Security"/>
          <xsd:enumeration value="18 Exit Mgt"/>
          <xsd:enumeration value="90 PPM Misc"/>
        </xsd:restriction>
      </xsd:simpleType>
    </xsd:element>
    <xsd:element name="DocumentComments" ma:index="11" nillable="true" ma:displayName="Document Comments" ma:internalName="DocumentComments" ma:readOnly="false">
      <xsd:simpleType>
        <xsd:restriction base="dms:Note">
          <xsd:maxLength value="255"/>
        </xsd:restriction>
      </xsd:simpleType>
    </xsd:element>
    <xsd:element name="DeliveryPhase" ma:index="12" nillable="true" ma:displayName="Delivery Phase" ma:description="Relates to the delivery phase of a project." ma:internalName="DeliveryPhase" ma:readOnly="false">
      <xsd:complexType>
        <xsd:complexContent>
          <xsd:extension base="dms:MultiChoice">
            <xsd:sequence>
              <xsd:element name="Value" maxOccurs="unbounded" minOccurs="0" nillable="true">
                <xsd:simpleType>
                  <xsd:restriction base="dms:Choice">
                    <xsd:enumeration value="Viability"/>
                    <xsd:enumeration value="Define"/>
                    <xsd:enumeration value="Design"/>
                    <xsd:enumeration value="Build &amp; Test"/>
                    <xsd:enumeration value="Integration"/>
                  </xsd:restriction>
                </xsd:simpleType>
              </xsd:element>
            </xsd:sequence>
          </xsd:extension>
        </xsd:complexContent>
      </xsd:complexType>
    </xsd:element>
    <xsd:element name="ServiceLevelSupplier" ma:index="13" nillable="true" ma:displayName="Service Level Supplier" ma:list="{55e21914-0518-48d0-b4c0-49b3ab28a898}" ma:internalName="ServiceLevelSupplier" ma:readOnly="false" ma:showField="Title" ma:web="82a9a9f6-36e5-4b66-983a-e41005688d4e">
      <xsd:complexType>
        <xsd:complexContent>
          <xsd:extension base="dms:MultiChoiceLookup">
            <xsd:sequence>
              <xsd:element name="Value" type="dms:Lookup" maxOccurs="unbounded" minOccurs="0" nillable="true"/>
            </xsd:sequence>
          </xsd:extension>
        </xsd:complexContent>
      </xsd:complexType>
    </xsd:element>
    <xsd:element name="ContentType1" ma:index="15" nillable="true" ma:displayName="Document Content Type" ma:default="BMF Document" ma:hidden="true" ma:internalName="ContentType1" ma:readOnly="false">
      <xsd:simpleType>
        <xsd:restriction base="dms:Text">
          <xsd:maxLength value="255"/>
        </xsd:restriction>
      </xsd:simpleType>
    </xsd:element>
    <xsd:element name="DocumentSetContributor" ma:index="21" nillable="true" ma:displayName="Document Set Contributor" ma:hidden="true" ma:list="UserInfo" ma:SharePointGroup="0" ma:internalName="DocumentSet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eliveryUnit" ma:index="22" ma:displayName="Delivery Unit" ma:default="AAG" ma:format="Dropdown" ma:internalName="DeliveryUnit" ma:readOnly="false">
      <xsd:simpleType>
        <xsd:restriction base="dms:Choice">
          <xsd:enumeration value="AAG"/>
          <xsd:enumeration value="Accommodation"/>
          <xsd:enumeration value="AiA"/>
          <xsd:enumeration value="Applications Service Division"/>
          <xsd:enumeration value="APS"/>
          <xsd:enumeration value="ASE"/>
          <xsd:enumeration value="Audit &amp; Quality"/>
          <xsd:enumeration value="Asset Management"/>
          <xsd:enumeration value="Aspire Cloud and Collaboration Service"/>
          <xsd:enumeration value="Assurance Capabilities &amp; Transformation"/>
          <xsd:enumeration value="Availability Management"/>
          <xsd:enumeration value="Build and Test"/>
          <xsd:enumeration value="Business Transformation"/>
          <xsd:enumeration value="Capgemini Infrastructure Services"/>
          <xsd:enumeration value="Central PIN"/>
          <xsd:enumeration value="CBOS"/>
          <xsd:enumeration value="Capacity Management"/>
          <xsd:enumeration value="Change Management"/>
          <xsd:enumeration value="Commercial"/>
          <xsd:enumeration value="Communications"/>
          <xsd:enumeration value="Configuration Management"/>
          <xsd:enumeration value="Continual Improvement"/>
          <xsd:enumeration value="Cross Practice PIN"/>
          <xsd:enumeration value="Define"/>
          <xsd:enumeration value="Delivery Group Services"/>
          <xsd:enumeration value="Design"/>
          <xsd:enumeration value="Ecosystem"/>
          <xsd:enumeration value="Enterprise Release Management"/>
          <xsd:enumeration value="Finance"/>
          <xsd:enumeration value="HR"/>
          <xsd:enumeration value="Incident Management"/>
          <xsd:enumeration value="Infrastructure"/>
          <xsd:enumeration value="Integration"/>
          <xsd:enumeration value="Integration Services Division"/>
          <xsd:enumeration value="ITSC"/>
          <xsd:enumeration value="Knowledge Management"/>
          <xsd:enumeration value="L&amp;D"/>
          <xsd:enumeration value="LEAN"/>
          <xsd:enumeration value="LS Technology"/>
          <xsd:enumeration value="Networks"/>
          <xsd:enumeration value="Operations Centre"/>
          <xsd:enumeration value="PMO PIN"/>
          <xsd:enumeration value="Portfolios"/>
          <xsd:enumeration value="Problem Management"/>
          <xsd:enumeration value="Project Management PIN"/>
          <xsd:enumeration value="Quality Gates"/>
          <xsd:enumeration value="Recruitment and Resourcing"/>
          <xsd:enumeration value="Release Management"/>
          <xsd:enumeration value="Requirements &amp; Analysis PIN"/>
          <xsd:enumeration value="Security"/>
          <xsd:enumeration value="Service Introduction"/>
          <xsd:enumeration value="Service Level Reporting"/>
          <xsd:enumeration value="Service Management"/>
          <xsd:enumeration value="Service Transition"/>
          <xsd:enumeration value="Service Operations"/>
          <xsd:enumeration value="Software Engineering PIN"/>
          <xsd:enumeration value="Strategy"/>
          <xsd:enumeration value="Test PIN"/>
          <xsd:enumeration value="UPM"/>
          <xsd:enumeration value="Viability"/>
          <xsd:enumeration value="Fujitsu"/>
        </xsd:restriction>
      </xsd:simpleType>
    </xsd:element>
    <xsd:element name="DocumentSet" ma:index="23" nillable="true" ma:displayName="Document Set" ma:description="This is used to pollenate down to all the documents within this set, it should be the same as the Name." ma:hidden="true" ma:internalName="DocumentSet" ma:readOnly="false">
      <xsd:simpleType>
        <xsd:restriction base="dms:Text">
          <xsd:maxLength value="255"/>
        </xsd:restriction>
      </xsd:simpleType>
    </xsd:element>
    <xsd:element name="Team" ma:index="24" nillable="true" ma:displayName="Team" ma:description="Team name" ma:hidden="true" ma:internalName="Team" ma:readOnly="false">
      <xsd:simpleType>
        <xsd:restriction base="dms:Text">
          <xsd:maxLength value="20"/>
        </xsd:restriction>
      </xsd:simpleType>
    </xsd:element>
    <xsd:element name="FunctionalUnit" ma:index="25" nillable="true" ma:displayName="Functional Unit" ma:description="Further clarification of hierarchal ownership" ma:format="Dropdown" ma:internalName="FunctionalUnit" ma:readOnly="false">
      <xsd:simpleType>
        <xsd:restriction base="dms:Choice">
          <xsd:enumeration value="Accommodation"/>
          <xsd:enumeration value="ACCS"/>
          <xsd:enumeration value="AD North"/>
          <xsd:enumeration value="AIA"/>
          <xsd:enumeration value="Application Management"/>
          <xsd:enumeration value="Applications Service Division"/>
          <xsd:enumeration value="APS"/>
          <xsd:enumeration value="Audit &amp; Quality"/>
          <xsd:enumeration value="Architects Group"/>
          <xsd:enumeration value="ASD"/>
          <xsd:enumeration value="ASE"/>
          <xsd:enumeration value="Aspire Networks Division"/>
          <xsd:enumeration value="Aspire Service Desk"/>
          <xsd:enumeration value="Assurance &amp; Quality"/>
          <xsd:enumeration value="Availability Management"/>
          <xsd:enumeration value="Benefits and Credits"/>
          <xsd:enumeration value="Bid Management"/>
          <xsd:enumeration value="BIM"/>
          <xsd:enumeration value="Business Analysis"/>
          <xsd:enumeration value="Business Management Support"/>
          <xsd:enumeration value="Business Operations"/>
          <xsd:enumeration value="Business Operations for Portfolios"/>
          <xsd:enumeration value="BPR"/>
          <xsd:enumeration value="Capabilities"/>
          <xsd:enumeration value="Capacity Management"/>
          <xsd:enumeration value="Change Management"/>
          <xsd:enumeration value="Capgemini Service Operations"/>
          <xsd:enumeration value="Central PIN"/>
          <xsd:enumeration value="CESA"/>
          <xsd:enumeration value="Change Programme"/>
          <xsd:enumeration value="CHIEF"/>
          <xsd:enumeration value="Clarity"/>
          <xsd:enumeration value="Commercial"/>
          <xsd:enumeration value="Commercial Management"/>
          <xsd:enumeration value="Commercial Support"/>
          <xsd:enumeration value="Communications"/>
          <xsd:enumeration value="Configuration Management"/>
          <xsd:enumeration value="Cross Practice PIN"/>
          <xsd:enumeration value="Cross Functional Delivery Documentation"/>
          <xsd:enumeration value="CRM"/>
          <xsd:enumeration value="CSD"/>
          <xsd:enumeration value="CTO"/>
          <xsd:enumeration value="DC Capabilities"/>
          <xsd:enumeration value="Delivery Group Services"/>
          <xsd:enumeration value="Delivery Group Assurance"/>
          <xsd:enumeration value="Database Delivery Centre"/>
          <xsd:enumeration value="Delivery Operational Performance"/>
          <xsd:enumeration value="Desktop Services"/>
          <xsd:enumeration value="Director General Services"/>
          <xsd:enumeration value="E Past"/>
          <xsd:enumeration value="Ecosystem"/>
          <xsd:enumeration value="Enterprise Management"/>
          <xsd:enumeration value="Enterprise Relaese Management"/>
          <xsd:enumeration value="Environment Delivery"/>
          <xsd:enumeration value="Environment Engineering"/>
          <xsd:enumeration value="EUS"/>
          <xsd:enumeration value="External Engagement"/>
          <xsd:enumeration value="Finance"/>
          <xsd:enumeration value="GEN"/>
          <xsd:enumeration value="Finance Cluster"/>
          <xsd:enumeration value="Health and Safety"/>
          <xsd:enumeration value="HR"/>
          <xsd:enumeration value="Implementation Management"/>
          <xsd:enumeration value="Incident Management"/>
          <xsd:enumeration value="Incident Managment"/>
          <xsd:enumeration value="Infrastructure"/>
          <xsd:enumeration value="Infrastructure Service Management"/>
          <xsd:enumeration value="Infrastructure Service Manager"/>
          <xsd:enumeration value="Infrastructure Services"/>
          <xsd:enumeration value="Integration and Packaging"/>
          <xsd:enumeration value="Integration Service and AM"/>
          <xsd:enumeration value="Labs"/>
          <xsd:enumeration value="Implementation Management"/>
          <xsd:enumeration value="Internal Audit"/>
          <xsd:enumeration value="ISD"/>
          <xsd:enumeration value="IT Service Centre"/>
          <xsd:enumeration value="ITSC"/>
          <xsd:enumeration value="ITSC Tools and Finance"/>
          <xsd:enumeration value="JAVA"/>
          <xsd:enumeration value="JDC"/>
          <xsd:enumeration value="Knowledge Management"/>
          <xsd:enumeration value="Lean"/>
          <xsd:enumeration value="Maestro/TWS"/>
          <xsd:enumeration value="Managed Data Transfer Services"/>
          <xsd:enumeration value="MET"/>
          <xsd:enumeration value="Methods &amp; Tools"/>
          <xsd:enumeration value="Methods and Tools"/>
          <xsd:enumeration value="Microsoft"/>
          <xsd:enumeration value="MPS"/>
          <xsd:enumeration value="Networks"/>
          <xsd:enumeration value="OAD"/>
          <xsd:enumeration value="Office Infrastructure"/>
          <xsd:enumeration value="OIS"/>
          <xsd:enumeration value="OIS - APS - DTS"/>
          <xsd:enumeration value="OIS - APS - Management"/>
          <xsd:enumeration value="OIS - APS - Tools and Automation"/>
          <xsd:enumeration value="OIS-APS-DTS"/>
          <xsd:enumeration value="P&amp;P Capabilities"/>
          <xsd:enumeration value="Patch Management"/>
          <xsd:enumeration value="PAYE/Internal Cluster"/>
          <xsd:enumeration value="Problem Management"/>
          <xsd:enumeration value="Project Management"/>
          <xsd:enumeration value="Quality"/>
          <xsd:enumeration value="Quality Gates"/>
          <xsd:enumeration value="Resourcing"/>
          <xsd:enumeration value="Resourcing &amp; Business Operations"/>
          <xsd:enumeration value="Security"/>
          <xsd:enumeration value="Security Operations"/>
          <xsd:enumeration value="Service Assurance"/>
          <xsd:enumeration value="Service Governance"/>
          <xsd:enumeration value="Service Integration"/>
          <xsd:enumeration value="Service Introduction"/>
          <xsd:enumeration value="Service Level Management"/>
          <xsd:enumeration value="Service Management"/>
          <xsd:enumeration value="Service Transition"/>
          <xsd:enumeration value="Service Request Fulfilment"/>
          <xsd:enumeration value="Shared Services"/>
          <xsd:enumeration value="Software Engineering"/>
          <xsd:enumeration value="Standards"/>
          <xsd:enumeration value="Strategy"/>
          <xsd:enumeration value="Strategy &amp; Business Management"/>
          <xsd:enumeration value="SW Engineering Capability"/>
          <xsd:enumeration value="Test"/>
          <xsd:enumeration value="TOM"/>
          <xsd:enumeration value="Tools and Finance"/>
          <xsd:enumeration value="User &amp; Estate Configuration"/>
          <xsd:enumeration value="Web Applications Cluster"/>
          <xsd:enumeration value="Web Messaging"/>
          <xsd:enumeration value="Windows Engineering"/>
          <xsd:enumeration value="Windows Managed Deployment"/>
          <xsd:enumeration value="VME"/>
          <xsd:maxLength value="20"/>
        </xsd:restriction>
      </xsd:simpleType>
    </xsd:element>
    <xsd:element name="BUCF" ma:index="26" ma:displayName="BU/CF" ma:format="Dropdown" ma:internalName="BUCF" ma:readOnly="false">
      <xsd:simpleType>
        <xsd:restriction base="dms:Choice">
          <xsd:enumeration value="Finance"/>
          <xsd:enumeration value="CFO"/>
          <xsd:enumeration value="Capgemini HR"/>
          <xsd:enumeration value="Commercial"/>
          <xsd:enumeration value="Delivery"/>
          <xsd:enumeration value="Live Services"/>
          <xsd:enumeration value="CTO"/>
          <xsd:enumeration value="System and Service Integration"/>
          <xsd:enumeration value="Portfolios"/>
          <xsd:enumeration value="Croscutting/ Enabling BU"/>
          <xsd:enumeration value="Strategy"/>
          <xsd:enumeration value="Fujitsu"/>
        </xsd:restriction>
      </xsd:simpleType>
    </xsd:element>
    <xsd:element name="SharedWithUsers" ma:index="2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Comments xmlns="82a9a9f6-36e5-4b66-983a-e41005688d4e" xsi:nil="true"/>
    <DocumentSetContributor xmlns="82a9a9f6-36e5-4b66-983a-e41005688d4e">
      <UserInfo>
        <DisplayName>Tarry, Mark</DisplayName>
        <AccountId>19</AccountId>
        <AccountType/>
      </UserInfo>
    </DocumentSetContributor>
    <DocumentType xmlns="82a9a9f6-36e5-4b66-983a-e41005688d4e">H     Templates</DocumentType>
    <ReviewOwner xmlns="82a9a9f6-36e5-4b66-983a-e41005688d4e">
      <UserInfo>
        <DisplayName>Tarry, Mark</DisplayName>
        <AccountId>19</AccountId>
        <AccountType/>
      </UserInfo>
    </ReviewOwner>
    <EndReview xmlns="82a9a9f6-36e5-4b66-983a-e41005688d4e">2018-02-17T00:00:00+00:00</EndReview>
    <DocumentSet xmlns="82a9a9f6-36e5-4b66-983a-e41005688d4e">Templates</DocumentSet>
    <DeliveryPhase xmlns="82a9a9f6-36e5-4b66-983a-e41005688d4e"/>
    <DeliveryUnit xmlns="82a9a9f6-36e5-4b66-983a-e41005688d4e">Audit &amp; Quality</DeliveryUnit>
    <PPM xmlns="82a9a9f6-36e5-4b66-983a-e41005688d4e">00 NA</PPM>
    <LastReview xmlns="82a9a9f6-36e5-4b66-983a-e41005688d4e">2016-02-18T00:00:00+00:00</LastReview>
    <Approved xmlns="82a9a9f6-36e5-4b66-983a-e41005688d4e">2016-02-18T00:00:00+00:00</Approved>
    <DocumentStatus xmlns="82a9a9f6-36e5-4b66-983a-e41005688d4e">Approved</DocumentStatus>
    <ContentType1 xmlns="82a9a9f6-36e5-4b66-983a-e41005688d4e">BMF Document</ContentType1>
    <Team xmlns="82a9a9f6-36e5-4b66-983a-e41005688d4e">Audit &amp; Quality</Team>
    <HMRCReviewer xmlns="82a9a9f6-36e5-4b66-983a-e41005688d4e" xsi:nil="true"/>
    <FunctionalUnit xmlns="82a9a9f6-36e5-4b66-983a-e41005688d4e">Audit &amp; Quality</FunctionalUnit>
    <DocumentOwner xmlns="82a9a9f6-36e5-4b66-983a-e41005688d4e">
      <UserInfo>
        <DisplayName>Wilkinson, Carol</DisplayName>
        <AccountId>13</AccountId>
        <AccountType/>
      </UserInfo>
    </DocumentOwner>
    <ServiceLevelSupplier xmlns="82a9a9f6-36e5-4b66-983a-e41005688d4e">
      <Value>3</Value>
    </ServiceLevelSupplier>
    <BUCF xmlns="82a9a9f6-36e5-4b66-983a-e41005688d4e">CFO</BUC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AAE612-C20D-451B-8E8F-B2A1DEC97D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9a9f6-36e5-4b66-983a-e41005688d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783EAD-8C0B-4513-8FA8-74E17408F4C3}">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2a9a9f6-36e5-4b66-983a-e41005688d4e"/>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3F5DA12C-E679-4908-A610-F9221CA146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_HMRC_Account_Template</Template>
  <TotalTime>4368</TotalTime>
  <Words>57</Words>
  <Application>Microsoft Office PowerPoint</Application>
  <PresentationFormat>A4 Paper (210x297 mm)</PresentationFormat>
  <Paragraphs>51</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Verdana</vt:lpstr>
      <vt:lpstr>Wingdings</vt:lpstr>
      <vt:lpstr>Capgemini Fujitsu Accenture HMRC Account Template</vt:lpstr>
      <vt:lpstr>think-cell Slide</vt:lpstr>
      <vt:lpstr>Sprint Review R2.2</vt:lpstr>
      <vt:lpstr>Sprint Goal –Creation of Duty Deferment Account</vt:lpstr>
      <vt:lpstr>Overall Process View </vt:lpstr>
      <vt:lpstr>Sprint Goal –LiSCA to copy and send SPIRE License update (inbound) file to ILMS + Acknowledgement </vt:lpstr>
      <vt:lpstr>Overall Process View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Manoj Verma</dc:creator>
  <cp:keywords/>
  <cp:lastModifiedBy>David Hutchinson</cp:lastModifiedBy>
  <cp:revision>69</cp:revision>
  <cp:lastPrinted>2018-09-12T13:24:53Z</cp:lastPrinted>
  <dcterms:created xsi:type="dcterms:W3CDTF">2018-05-29T16:50:59Z</dcterms:created>
  <dcterms:modified xsi:type="dcterms:W3CDTF">2018-10-08T12:2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935B086D9923B74AA2A1E4D20E9BB9220086079DA00C05164E8E3DD17CD0540BFF</vt:lpwstr>
  </property>
  <property fmtid="{D5CDD505-2E9C-101B-9397-08002B2CF9AE}" pid="4" name="TaxCatchAll">
    <vt:lpwstr/>
  </property>
  <property fmtid="{D5CDD505-2E9C-101B-9397-08002B2CF9AE}" pid="5" name="_docset_NoMedatataSyncRequired">
    <vt:lpwstr>False</vt:lpwstr>
  </property>
  <property fmtid="{D5CDD505-2E9C-101B-9397-08002B2CF9AE}" pid="6" name="DocumentSetDescription">
    <vt:lpwstr/>
  </property>
  <property fmtid="{D5CDD505-2E9C-101B-9397-08002B2CF9AE}" pid="7" name="Order">
    <vt:r8>843700</vt:r8>
  </property>
  <property fmtid="{D5CDD505-2E9C-101B-9397-08002B2CF9AE}" pid="8" name="ISO20000X">
    <vt:lpwstr>NA</vt:lpwstr>
  </property>
  <property fmtid="{D5CDD505-2E9C-101B-9397-08002B2CF9AE}" pid="9" name="ISO27001X">
    <vt:lpwstr>NA</vt:lpwstr>
  </property>
  <property fmtid="{D5CDD505-2E9C-101B-9397-08002B2CF9AE}" pid="10" name="ITIL">
    <vt:lpwstr>NA</vt:lpwstr>
  </property>
  <property fmtid="{D5CDD505-2E9C-101B-9397-08002B2CF9AE}" pid="11" name="ProcessAssessment">
    <vt:lpwstr>standard</vt:lpwstr>
  </property>
  <property fmtid="{D5CDD505-2E9C-101B-9397-08002B2CF9AE}" pid="12" name="TickitPlus">
    <vt:lpwstr>N/A</vt:lpwstr>
  </property>
  <property fmtid="{D5CDD505-2E9C-101B-9397-08002B2CF9AE}" pid="13" name="ISO9001X">
    <vt:lpwstr>QM4 - Quality Management System</vt:lpwstr>
  </property>
  <property fmtid="{D5CDD505-2E9C-101B-9397-08002B2CF9AE}" pid="14" name="DocSetContentType">
    <vt:lpwstr/>
  </property>
  <property fmtid="{D5CDD505-2E9C-101B-9397-08002B2CF9AE}" pid="15" name="WorkflowComments">
    <vt:lpwstr/>
  </property>
</Properties>
</file>